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ags/tag12.xml" ContentType="application/vnd.openxmlformats-officedocument.presentationml.tags+xml"/>
  <Override PartName="/ppt/theme/themeOverride4.xml" ContentType="application/vnd.openxmlformats-officedocument.themeOverride+xml"/>
  <Override PartName="/ppt/tags/tag13.xml" ContentType="application/vnd.openxmlformats-officedocument.presentationml.tags+xml"/>
  <Override PartName="/ppt/theme/themeOverride5.xml" ContentType="application/vnd.openxmlformats-officedocument.themeOverride+xml"/>
  <Override PartName="/ppt/tags/tag14.xml" ContentType="application/vnd.openxmlformats-officedocument.presentationml.tags+xml"/>
  <Override PartName="/ppt/theme/themeOverride6.xml" ContentType="application/vnd.openxmlformats-officedocument.themeOverride+xml"/>
  <Override PartName="/ppt/tags/tag15.xml" ContentType="application/vnd.openxmlformats-officedocument.presentationml.tags+xml"/>
  <Override PartName="/ppt/theme/themeOverride7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8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9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0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11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12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14.xml" ContentType="application/vnd.openxmlformats-officedocument.themeOverride+xml"/>
  <Override PartName="/ppt/tags/tag41.xml" ContentType="application/vnd.openxmlformats-officedocument.presentationml.tags+xml"/>
  <Override PartName="/ppt/theme/themeOverride15.xml" ContentType="application/vnd.openxmlformats-officedocument.themeOverride+xml"/>
  <Override PartName="/ppt/tags/tag42.xml" ContentType="application/vnd.openxmlformats-officedocument.presentationml.tags+xml"/>
  <Override PartName="/ppt/theme/themeOverride16.xml" ContentType="application/vnd.openxmlformats-officedocument.themeOverride+xml"/>
  <Override PartName="/ppt/tags/tag43.xml" ContentType="application/vnd.openxmlformats-officedocument.presentationml.tags+xml"/>
  <Override PartName="/ppt/theme/themeOverride17.xml" ContentType="application/vnd.openxmlformats-officedocument.themeOverride+xml"/>
  <Override PartName="/ppt/tags/tag44.xml" ContentType="application/vnd.openxmlformats-officedocument.presentationml.tags+xml"/>
  <Override PartName="/ppt/theme/themeOverride18.xml" ContentType="application/vnd.openxmlformats-officedocument.themeOverride+xml"/>
  <Override PartName="/ppt/tags/tag45.xml" ContentType="application/vnd.openxmlformats-officedocument.presentationml.tags+xml"/>
  <Override PartName="/ppt/theme/themeOverride19.xml" ContentType="application/vnd.openxmlformats-officedocument.themeOverride+xml"/>
  <Override PartName="/ppt/tags/tag46.xml" ContentType="application/vnd.openxmlformats-officedocument.presentationml.tags+xml"/>
  <Override PartName="/ppt/theme/themeOverride20.xml" ContentType="application/vnd.openxmlformats-officedocument.themeOverr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Override21.xml" ContentType="application/vnd.openxmlformats-officedocument.themeOverr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Override22.xml" ContentType="application/vnd.openxmlformats-officedocument.themeOverr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Override23.xml" ContentType="application/vnd.openxmlformats-officedocument.themeOverr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24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25.xml" ContentType="application/vnd.openxmlformats-officedocument.themeOverride+xml"/>
  <Override PartName="/ppt/tags/tag59.xml" ContentType="application/vnd.openxmlformats-officedocument.presentationml.tags+xml"/>
  <Override PartName="/ppt/theme/themeOverride26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2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28.xml" ContentType="application/vnd.openxmlformats-officedocument.themeOverride+xml"/>
  <Override PartName="/ppt/tags/tag67.xml" ContentType="application/vnd.openxmlformats-officedocument.presentationml.tags+xml"/>
  <Override PartName="/ppt/theme/themeOverride29.xml" ContentType="application/vnd.openxmlformats-officedocument.themeOverride+xml"/>
  <Override PartName="/ppt/tags/tag68.xml" ContentType="application/vnd.openxmlformats-officedocument.presentationml.tags+xml"/>
  <Override PartName="/ppt/theme/themeOverride30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heme/themeOverride31.xml" ContentType="application/vnd.openxmlformats-officedocument.themeOverride+xml"/>
  <Override PartName="/ppt/tags/tag74.xml" ContentType="application/vnd.openxmlformats-officedocument.presentationml.tags+xml"/>
  <Override PartName="/ppt/theme/themeOverride32.xml" ContentType="application/vnd.openxmlformats-officedocument.themeOverride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3.xml" ContentType="application/vnd.openxmlformats-officedocument.presentationml.notesSlide+xml"/>
  <Override PartName="/ppt/tags/tag8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 bookmarkIdSeed="2">
  <p:sldMasterIdLst>
    <p:sldMasterId id="2147485185" r:id="rId5"/>
  </p:sldMasterIdLst>
  <p:notesMasterIdLst>
    <p:notesMasterId r:id="rId11"/>
  </p:notesMasterIdLst>
  <p:handoutMasterIdLst>
    <p:handoutMasterId r:id="rId12"/>
  </p:handoutMasterIdLst>
  <p:sldIdLst>
    <p:sldId id="277" r:id="rId6"/>
    <p:sldId id="259" r:id="rId7"/>
    <p:sldId id="2147483645" r:id="rId8"/>
    <p:sldId id="2147483644" r:id="rId9"/>
    <p:sldId id="2147483647" r:id="rId10"/>
  </p:sldIdLst>
  <p:sldSz cx="12192000" cy="6858000"/>
  <p:notesSz cx="6950075" cy="9236075"/>
  <p:custShowLst>
    <p:custShow name="Format Guide Workshop" id="0">
      <p:sldLst/>
    </p:custShow>
  </p:custShowLst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ABBB"/>
    <a:srgbClr val="79C422"/>
    <a:srgbClr val="3E89ED"/>
    <a:srgbClr val="FB0278"/>
    <a:srgbClr val="59626E"/>
    <a:srgbClr val="416C1F"/>
    <a:srgbClr val="254F88"/>
    <a:srgbClr val="850A4C"/>
    <a:srgbClr val="555E6C"/>
    <a:srgbClr val="1A5B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B93207-B0B2-4C9C-980C-0D6113ACFE50}" v="294" dt="2025-02-13T18:12:31.904"/>
    <p1510:client id="{EF7F5FE6-BAAA-6C2B-8950-B9A369CDD07E}" v="4" dt="2025-02-13T16:44:09.3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3" d="100"/>
          <a:sy n="93" d="100"/>
        </p:scale>
        <p:origin x="102" y="1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seph, Tyler" userId="S::joseph.tyler@bcg.com::d95ade4d-0576-43d0-bb19-3f7a19f59750" providerId="AD" clId="Web-{EF7F5FE6-BAAA-6C2B-8950-B9A369CDD07E}"/>
    <pc:docChg chg="modSld">
      <pc:chgData name="Joseph, Tyler" userId="S::joseph.tyler@bcg.com::d95ade4d-0576-43d0-bb19-3f7a19f59750" providerId="AD" clId="Web-{EF7F5FE6-BAAA-6C2B-8950-B9A369CDD07E}" dt="2025-02-13T16:44:09.388" v="3" actId="20577"/>
      <pc:docMkLst>
        <pc:docMk/>
      </pc:docMkLst>
      <pc:sldChg chg="modSp">
        <pc:chgData name="Joseph, Tyler" userId="S::joseph.tyler@bcg.com::d95ade4d-0576-43d0-bb19-3f7a19f59750" providerId="AD" clId="Web-{EF7F5FE6-BAAA-6C2B-8950-B9A369CDD07E}" dt="2025-02-13T16:44:09.388" v="3" actId="20577"/>
        <pc:sldMkLst>
          <pc:docMk/>
          <pc:sldMk cId="3934947838" sldId="2147483644"/>
        </pc:sldMkLst>
        <pc:spChg chg="mod">
          <ac:chgData name="Joseph, Tyler" userId="S::joseph.tyler@bcg.com::d95ade4d-0576-43d0-bb19-3f7a19f59750" providerId="AD" clId="Web-{EF7F5FE6-BAAA-6C2B-8950-B9A369CDD07E}" dt="2025-02-13T16:44:09.388" v="3" actId="20577"/>
          <ac:spMkLst>
            <pc:docMk/>
            <pc:sldMk cId="3934947838" sldId="2147483644"/>
            <ac:spMk id="2" creationId="{6FF53821-5F07-F0D0-A414-30CCFDC7C9D4}"/>
          </ac:spMkLst>
        </pc:spChg>
      </pc:sldChg>
    </pc:docChg>
  </pc:docChgLst>
  <pc:docChgLst>
    <pc:chgData name="Joseph, Tyler" userId="d95ade4d-0576-43d0-bb19-3f7a19f59750" providerId="ADAL" clId="{B1B93207-B0B2-4C9C-980C-0D6113ACFE50}"/>
    <pc:docChg chg="undo custSel addSld delSld modSld">
      <pc:chgData name="Joseph, Tyler" userId="d95ade4d-0576-43d0-bb19-3f7a19f59750" providerId="ADAL" clId="{B1B93207-B0B2-4C9C-980C-0D6113ACFE50}" dt="2025-02-13T18:13:26.333" v="2725" actId="478"/>
      <pc:docMkLst>
        <pc:docMk/>
      </pc:docMkLst>
      <pc:sldChg chg="addSp delSp modSp mod">
        <pc:chgData name="Joseph, Tyler" userId="d95ade4d-0576-43d0-bb19-3f7a19f59750" providerId="ADAL" clId="{B1B93207-B0B2-4C9C-980C-0D6113ACFE50}" dt="2025-02-13T18:13:26.333" v="2725" actId="478"/>
        <pc:sldMkLst>
          <pc:docMk/>
          <pc:sldMk cId="2729784382" sldId="259"/>
        </pc:sldMkLst>
        <pc:spChg chg="mod">
          <ac:chgData name="Joseph, Tyler" userId="d95ade4d-0576-43d0-bb19-3f7a19f59750" providerId="ADAL" clId="{B1B93207-B0B2-4C9C-980C-0D6113ACFE50}" dt="2025-02-12T18:03:17.794" v="91" actId="948"/>
          <ac:spMkLst>
            <pc:docMk/>
            <pc:sldMk cId="2729784382" sldId="259"/>
            <ac:spMk id="2" creationId="{DC404FFE-062A-D2A1-3C87-83DC74BE03E2}"/>
          </ac:spMkLst>
        </pc:spChg>
        <pc:spChg chg="add del mod modVis">
          <ac:chgData name="Joseph, Tyler" userId="d95ade4d-0576-43d0-bb19-3f7a19f59750" providerId="ADAL" clId="{B1B93207-B0B2-4C9C-980C-0D6113ACFE50}" dt="2025-02-12T18:03:05.184" v="35"/>
          <ac:spMkLst>
            <pc:docMk/>
            <pc:sldMk cId="2729784382" sldId="259"/>
            <ac:spMk id="3" creationId="{47048BA9-92EF-C112-2D15-F1B9CF847264}"/>
          </ac:spMkLst>
        </pc:spChg>
        <pc:spChg chg="add del mod modVis">
          <ac:chgData name="Joseph, Tyler" userId="d95ade4d-0576-43d0-bb19-3f7a19f59750" providerId="ADAL" clId="{B1B93207-B0B2-4C9C-980C-0D6113ACFE50}" dt="2025-02-12T18:03:06.045" v="61"/>
          <ac:spMkLst>
            <pc:docMk/>
            <pc:sldMk cId="2729784382" sldId="259"/>
            <ac:spMk id="4" creationId="{0041FAA5-3A18-DE75-5E6C-C07F27ECF7F2}"/>
          </ac:spMkLst>
        </pc:spChg>
        <pc:spChg chg="add del mod">
          <ac:chgData name="Joseph, Tyler" userId="d95ade4d-0576-43d0-bb19-3f7a19f59750" providerId="ADAL" clId="{B1B93207-B0B2-4C9C-980C-0D6113ACFE50}" dt="2025-02-13T18:11:14.725" v="2666" actId="478"/>
          <ac:spMkLst>
            <pc:docMk/>
            <pc:sldMk cId="2729784382" sldId="259"/>
            <ac:spMk id="4" creationId="{5ECFE0AE-FC52-E864-F4E9-84591ACAD0CF}"/>
          </ac:spMkLst>
        </pc:spChg>
        <pc:spChg chg="add del mod">
          <ac:chgData name="Joseph, Tyler" userId="d95ade4d-0576-43d0-bb19-3f7a19f59750" providerId="ADAL" clId="{B1B93207-B0B2-4C9C-980C-0D6113ACFE50}" dt="2025-02-13T18:11:38.513" v="2703" actId="478"/>
          <ac:spMkLst>
            <pc:docMk/>
            <pc:sldMk cId="2729784382" sldId="259"/>
            <ac:spMk id="5" creationId="{B012E513-0F57-AA07-B039-D196F1D813FB}"/>
          </ac:spMkLst>
        </pc:spChg>
        <pc:spChg chg="add del mod modVis">
          <ac:chgData name="Joseph, Tyler" userId="d95ade4d-0576-43d0-bb19-3f7a19f59750" providerId="ADAL" clId="{B1B93207-B0B2-4C9C-980C-0D6113ACFE50}" dt="2025-02-12T18:03:09.554" v="86"/>
          <ac:spMkLst>
            <pc:docMk/>
            <pc:sldMk cId="2729784382" sldId="259"/>
            <ac:spMk id="5" creationId="{B9BD751A-6C21-9355-1501-CF03986B35E5}"/>
          </ac:spMkLst>
        </pc:spChg>
        <pc:spChg chg="add del mod">
          <ac:chgData name="Joseph, Tyler" userId="d95ade4d-0576-43d0-bb19-3f7a19f59750" providerId="ADAL" clId="{B1B93207-B0B2-4C9C-980C-0D6113ACFE50}" dt="2025-02-13T18:11:40.464" v="2704" actId="478"/>
          <ac:spMkLst>
            <pc:docMk/>
            <pc:sldMk cId="2729784382" sldId="259"/>
            <ac:spMk id="6" creationId="{15ECD257-E8A9-76D0-0D69-E75403DB12E7}"/>
          </ac:spMkLst>
        </pc:spChg>
        <pc:spChg chg="add del mod modVis">
          <ac:chgData name="Joseph, Tyler" userId="d95ade4d-0576-43d0-bb19-3f7a19f59750" providerId="ADAL" clId="{B1B93207-B0B2-4C9C-980C-0D6113ACFE50}" dt="2025-02-12T18:03:17.805" v="112"/>
          <ac:spMkLst>
            <pc:docMk/>
            <pc:sldMk cId="2729784382" sldId="259"/>
            <ac:spMk id="6" creationId="{C68573D0-FF26-61C0-DB96-16721E391512}"/>
          </ac:spMkLst>
        </pc:spChg>
        <pc:spChg chg="mod">
          <ac:chgData name="Joseph, Tyler" userId="d95ade4d-0576-43d0-bb19-3f7a19f59750" providerId="ADAL" clId="{B1B93207-B0B2-4C9C-980C-0D6113ACFE50}" dt="2025-02-13T18:11:31.494" v="2701" actId="20577"/>
          <ac:spMkLst>
            <pc:docMk/>
            <pc:sldMk cId="2729784382" sldId="259"/>
            <ac:spMk id="17" creationId="{07574988-920F-4596-CAAF-E6A026A6B9E5}"/>
          </ac:spMkLst>
        </pc:spChg>
        <pc:spChg chg="mod topLvl">
          <ac:chgData name="Joseph, Tyler" userId="d95ade4d-0576-43d0-bb19-3f7a19f59750" providerId="ADAL" clId="{B1B93207-B0B2-4C9C-980C-0D6113ACFE50}" dt="2025-02-13T18:12:31.904" v="2713" actId="165"/>
          <ac:spMkLst>
            <pc:docMk/>
            <pc:sldMk cId="2729784382" sldId="259"/>
            <ac:spMk id="30" creationId="{E1AA63A3-5C4B-62E0-EF3E-BFA4372327E7}"/>
          </ac:spMkLst>
        </pc:spChg>
        <pc:spChg chg="mod">
          <ac:chgData name="Joseph, Tyler" userId="d95ade4d-0576-43d0-bb19-3f7a19f59750" providerId="ADAL" clId="{B1B93207-B0B2-4C9C-980C-0D6113ACFE50}" dt="2025-02-13T18:13:21.195" v="2723" actId="207"/>
          <ac:spMkLst>
            <pc:docMk/>
            <pc:sldMk cId="2729784382" sldId="259"/>
            <ac:spMk id="33" creationId="{04EF4C1B-8C82-F165-F764-DE6D29AC32B4}"/>
          </ac:spMkLst>
        </pc:spChg>
        <pc:spChg chg="mod topLvl">
          <ac:chgData name="Joseph, Tyler" userId="d95ade4d-0576-43d0-bb19-3f7a19f59750" providerId="ADAL" clId="{B1B93207-B0B2-4C9C-980C-0D6113ACFE50}" dt="2025-02-13T18:13:24.492" v="2724" actId="207"/>
          <ac:spMkLst>
            <pc:docMk/>
            <pc:sldMk cId="2729784382" sldId="259"/>
            <ac:spMk id="35" creationId="{DF5DB4D3-FD3E-961A-9F41-653C068A2102}"/>
          </ac:spMkLst>
        </pc:spChg>
        <pc:spChg chg="mod">
          <ac:chgData name="Joseph, Tyler" userId="d95ade4d-0576-43d0-bb19-3f7a19f59750" providerId="ADAL" clId="{B1B93207-B0B2-4C9C-980C-0D6113ACFE50}" dt="2025-02-13T18:13:17.756" v="2722" actId="207"/>
          <ac:spMkLst>
            <pc:docMk/>
            <pc:sldMk cId="2729784382" sldId="259"/>
            <ac:spMk id="36" creationId="{1240339D-17D3-C64E-86D9-C8910CF049A4}"/>
          </ac:spMkLst>
        </pc:spChg>
        <pc:spChg chg="mod">
          <ac:chgData name="Joseph, Tyler" userId="d95ade4d-0576-43d0-bb19-3f7a19f59750" providerId="ADAL" clId="{B1B93207-B0B2-4C9C-980C-0D6113ACFE50}" dt="2025-02-13T18:13:14.401" v="2721" actId="207"/>
          <ac:spMkLst>
            <pc:docMk/>
            <pc:sldMk cId="2729784382" sldId="259"/>
            <ac:spMk id="40" creationId="{468FE0A4-85B1-59E1-059B-71D278FC6A24}"/>
          </ac:spMkLst>
        </pc:spChg>
        <pc:spChg chg="mod topLvl">
          <ac:chgData name="Joseph, Tyler" userId="d95ade4d-0576-43d0-bb19-3f7a19f59750" providerId="ADAL" clId="{B1B93207-B0B2-4C9C-980C-0D6113ACFE50}" dt="2025-02-13T18:11:43.788" v="2705" actId="165"/>
          <ac:spMkLst>
            <pc:docMk/>
            <pc:sldMk cId="2729784382" sldId="259"/>
            <ac:spMk id="139" creationId="{5FC4C48B-DC81-1CAA-A2EC-9B034A5D1936}"/>
          </ac:spMkLst>
        </pc:spChg>
        <pc:spChg chg="mod topLvl">
          <ac:chgData name="Joseph, Tyler" userId="d95ade4d-0576-43d0-bb19-3f7a19f59750" providerId="ADAL" clId="{B1B93207-B0B2-4C9C-980C-0D6113ACFE50}" dt="2025-02-13T18:11:43.788" v="2705" actId="165"/>
          <ac:spMkLst>
            <pc:docMk/>
            <pc:sldMk cId="2729784382" sldId="259"/>
            <ac:spMk id="140" creationId="{73B84FE6-6A4D-14B6-B4F7-C71D3FDEB044}"/>
          </ac:spMkLst>
        </pc:spChg>
        <pc:spChg chg="mod topLvl">
          <ac:chgData name="Joseph, Tyler" userId="d95ade4d-0576-43d0-bb19-3f7a19f59750" providerId="ADAL" clId="{B1B93207-B0B2-4C9C-980C-0D6113ACFE50}" dt="2025-02-13T18:11:43.788" v="2705" actId="165"/>
          <ac:spMkLst>
            <pc:docMk/>
            <pc:sldMk cId="2729784382" sldId="259"/>
            <ac:spMk id="141" creationId="{5C91855C-1958-D6E2-BF94-C9E4FEA1AD3F}"/>
          </ac:spMkLst>
        </pc:spChg>
        <pc:spChg chg="mod topLvl">
          <ac:chgData name="Joseph, Tyler" userId="d95ade4d-0576-43d0-bb19-3f7a19f59750" providerId="ADAL" clId="{B1B93207-B0B2-4C9C-980C-0D6113ACFE50}" dt="2025-02-13T18:11:43.788" v="2705" actId="165"/>
          <ac:spMkLst>
            <pc:docMk/>
            <pc:sldMk cId="2729784382" sldId="259"/>
            <ac:spMk id="142" creationId="{850511A1-084D-9AB2-9F2E-84A19EEDA77F}"/>
          </ac:spMkLst>
        </pc:spChg>
        <pc:spChg chg="mod topLvl">
          <ac:chgData name="Joseph, Tyler" userId="d95ade4d-0576-43d0-bb19-3f7a19f59750" providerId="ADAL" clId="{B1B93207-B0B2-4C9C-980C-0D6113ACFE50}" dt="2025-02-13T18:11:43.788" v="2705" actId="165"/>
          <ac:spMkLst>
            <pc:docMk/>
            <pc:sldMk cId="2729784382" sldId="259"/>
            <ac:spMk id="143" creationId="{585E7DE9-D227-FEA0-9816-290D715B3482}"/>
          </ac:spMkLst>
        </pc:spChg>
        <pc:spChg chg="mod topLvl">
          <ac:chgData name="Joseph, Tyler" userId="d95ade4d-0576-43d0-bb19-3f7a19f59750" providerId="ADAL" clId="{B1B93207-B0B2-4C9C-980C-0D6113ACFE50}" dt="2025-02-13T18:12:58.479" v="2717" actId="207"/>
          <ac:spMkLst>
            <pc:docMk/>
            <pc:sldMk cId="2729784382" sldId="259"/>
            <ac:spMk id="144" creationId="{5841DE18-C82F-C8EB-ACAC-3833A6E93A8B}"/>
          </ac:spMkLst>
        </pc:spChg>
        <pc:spChg chg="mod topLvl">
          <ac:chgData name="Joseph, Tyler" userId="d95ade4d-0576-43d0-bb19-3f7a19f59750" providerId="ADAL" clId="{B1B93207-B0B2-4C9C-980C-0D6113ACFE50}" dt="2025-02-13T18:13:06.714" v="2719" actId="207"/>
          <ac:spMkLst>
            <pc:docMk/>
            <pc:sldMk cId="2729784382" sldId="259"/>
            <ac:spMk id="145" creationId="{6807B8C7-31B8-B586-CA34-A7BB21DEB913}"/>
          </ac:spMkLst>
        </pc:spChg>
        <pc:spChg chg="mod topLvl">
          <ac:chgData name="Joseph, Tyler" userId="d95ade4d-0576-43d0-bb19-3f7a19f59750" providerId="ADAL" clId="{B1B93207-B0B2-4C9C-980C-0D6113ACFE50}" dt="2025-02-13T18:13:01.951" v="2718" actId="207"/>
          <ac:spMkLst>
            <pc:docMk/>
            <pc:sldMk cId="2729784382" sldId="259"/>
            <ac:spMk id="146" creationId="{2851AEB5-B01D-B29F-260C-E5152CF5F140}"/>
          </ac:spMkLst>
        </pc:spChg>
        <pc:spChg chg="mod topLvl">
          <ac:chgData name="Joseph, Tyler" userId="d95ade4d-0576-43d0-bb19-3f7a19f59750" providerId="ADAL" clId="{B1B93207-B0B2-4C9C-980C-0D6113ACFE50}" dt="2025-02-13T18:13:10.404" v="2720" actId="207"/>
          <ac:spMkLst>
            <pc:docMk/>
            <pc:sldMk cId="2729784382" sldId="259"/>
            <ac:spMk id="147" creationId="{B6090313-BD01-EA69-233C-9A8370E592BC}"/>
          </ac:spMkLst>
        </pc:spChg>
        <pc:grpChg chg="del">
          <ac:chgData name="Joseph, Tyler" userId="d95ade4d-0576-43d0-bb19-3f7a19f59750" providerId="ADAL" clId="{B1B93207-B0B2-4C9C-980C-0D6113ACFE50}" dt="2025-02-13T18:12:31.904" v="2713" actId="165"/>
          <ac:grpSpMkLst>
            <pc:docMk/>
            <pc:sldMk cId="2729784382" sldId="259"/>
            <ac:grpSpMk id="27" creationId="{4EF60DE2-21AE-C017-46C3-E0EB21CA34B9}"/>
          </ac:grpSpMkLst>
        </pc:grpChg>
        <pc:grpChg chg="del">
          <ac:chgData name="Joseph, Tyler" userId="d95ade4d-0576-43d0-bb19-3f7a19f59750" providerId="ADAL" clId="{B1B93207-B0B2-4C9C-980C-0D6113ACFE50}" dt="2025-02-13T18:11:43.788" v="2705" actId="165"/>
          <ac:grpSpMkLst>
            <pc:docMk/>
            <pc:sldMk cId="2729784382" sldId="259"/>
            <ac:grpSpMk id="51" creationId="{9BF18422-0069-E1FB-E67C-990F4C532711}"/>
          </ac:grpSpMkLst>
        </pc:grpChg>
        <pc:graphicFrameChg chg="add mod">
          <ac:chgData name="Joseph, Tyler" userId="d95ade4d-0576-43d0-bb19-3f7a19f59750" providerId="ADAL" clId="{B1B93207-B0B2-4C9C-980C-0D6113ACFE50}" dt="2025-02-13T16:45:09.161" v="2534"/>
          <ac:graphicFrameMkLst>
            <pc:docMk/>
            <pc:sldMk cId="2729784382" sldId="259"/>
            <ac:graphicFrameMk id="3" creationId="{43C7771C-183D-87F1-DE4F-85510721A583}"/>
          </ac:graphicFrameMkLst>
        </pc:graphicFrameChg>
        <pc:graphicFrameChg chg="mod">
          <ac:chgData name="Joseph, Tyler" userId="d95ade4d-0576-43d0-bb19-3f7a19f59750" providerId="ADAL" clId="{B1B93207-B0B2-4C9C-980C-0D6113ACFE50}" dt="2025-02-12T18:03:17.805" v="114"/>
          <ac:graphicFrameMkLst>
            <pc:docMk/>
            <pc:sldMk cId="2729784382" sldId="259"/>
            <ac:graphicFrameMk id="8" creationId="{BD243604-B312-99D4-BC2E-B5CCB1A969A1}"/>
          </ac:graphicFrameMkLst>
        </pc:graphicFrameChg>
        <pc:picChg chg="add del mod ord">
          <ac:chgData name="Joseph, Tyler" userId="d95ade4d-0576-43d0-bb19-3f7a19f59750" providerId="ADAL" clId="{B1B93207-B0B2-4C9C-980C-0D6113ACFE50}" dt="2025-02-13T18:11:25.371" v="2699" actId="478"/>
          <ac:picMkLst>
            <pc:docMk/>
            <pc:sldMk cId="2729784382" sldId="259"/>
            <ac:picMk id="9" creationId="{F65E7D52-5A4F-F118-D845-5FAA9982F2D1}"/>
          </ac:picMkLst>
        </pc:picChg>
        <pc:picChg chg="add del mod">
          <ac:chgData name="Joseph, Tyler" userId="d95ade4d-0576-43d0-bb19-3f7a19f59750" providerId="ADAL" clId="{B1B93207-B0B2-4C9C-980C-0D6113ACFE50}" dt="2025-02-13T18:13:26.333" v="2725" actId="478"/>
          <ac:picMkLst>
            <pc:docMk/>
            <pc:sldMk cId="2729784382" sldId="259"/>
            <ac:picMk id="11" creationId="{995CD1B1-3DAB-28A1-AD18-DB2A49610D80}"/>
          </ac:picMkLst>
        </pc:picChg>
        <pc:picChg chg="add del mod ord">
          <ac:chgData name="Joseph, Tyler" userId="d95ade4d-0576-43d0-bb19-3f7a19f59750" providerId="ADAL" clId="{B1B93207-B0B2-4C9C-980C-0D6113ACFE50}" dt="2025-02-13T18:11:27.061" v="2700" actId="478"/>
          <ac:picMkLst>
            <pc:docMk/>
            <pc:sldMk cId="2729784382" sldId="259"/>
            <ac:picMk id="25" creationId="{C9ECB1B9-2DF1-B689-FE8D-54A9C9C68C27}"/>
          </ac:picMkLst>
        </pc:picChg>
      </pc:sldChg>
      <pc:sldChg chg="modSp mod">
        <pc:chgData name="Joseph, Tyler" userId="d95ade4d-0576-43d0-bb19-3f7a19f59750" providerId="ADAL" clId="{B1B93207-B0B2-4C9C-980C-0D6113ACFE50}" dt="2025-02-12T18:02:13.075" v="2" actId="20577"/>
        <pc:sldMkLst>
          <pc:docMk/>
          <pc:sldMk cId="4031612863" sldId="277"/>
        </pc:sldMkLst>
        <pc:spChg chg="mod">
          <ac:chgData name="Joseph, Tyler" userId="d95ade4d-0576-43d0-bb19-3f7a19f59750" providerId="ADAL" clId="{B1B93207-B0B2-4C9C-980C-0D6113ACFE50}" dt="2025-02-12T18:02:13.075" v="2" actId="20577"/>
          <ac:spMkLst>
            <pc:docMk/>
            <pc:sldMk cId="4031612863" sldId="277"/>
            <ac:spMk id="5" creationId="{3F720A33-A5FA-4CAB-BD6E-99A125F86636}"/>
          </ac:spMkLst>
        </pc:spChg>
      </pc:sldChg>
      <pc:sldChg chg="addSp delSp modSp add mod">
        <pc:chgData name="Joseph, Tyler" userId="d95ade4d-0576-43d0-bb19-3f7a19f59750" providerId="ADAL" clId="{B1B93207-B0B2-4C9C-980C-0D6113ACFE50}" dt="2025-02-13T16:46:52.553" v="2598" actId="207"/>
        <pc:sldMkLst>
          <pc:docMk/>
          <pc:sldMk cId="3934947838" sldId="2147483644"/>
        </pc:sldMkLst>
        <pc:spChg chg="del">
          <ac:chgData name="Joseph, Tyler" userId="d95ade4d-0576-43d0-bb19-3f7a19f59750" providerId="ADAL" clId="{B1B93207-B0B2-4C9C-980C-0D6113ACFE50}" dt="2025-02-12T18:24:55.049" v="2152" actId="478"/>
          <ac:spMkLst>
            <pc:docMk/>
            <pc:sldMk cId="3934947838" sldId="2147483644"/>
            <ac:spMk id="4" creationId="{DC6512BA-D3CC-3AE4-E2D7-2940216CA7B3}"/>
          </ac:spMkLst>
        </pc:spChg>
        <pc:spChg chg="del">
          <ac:chgData name="Joseph, Tyler" userId="d95ade4d-0576-43d0-bb19-3f7a19f59750" providerId="ADAL" clId="{B1B93207-B0B2-4C9C-980C-0D6113ACFE50}" dt="2025-02-12T18:24:53.689" v="2151" actId="478"/>
          <ac:spMkLst>
            <pc:docMk/>
            <pc:sldMk cId="3934947838" sldId="2147483644"/>
            <ac:spMk id="5" creationId="{4EEEBDB3-B240-2FC7-21CC-A6B5502FDD6A}"/>
          </ac:spMkLst>
        </pc:spChg>
        <pc:spChg chg="mod">
          <ac:chgData name="Joseph, Tyler" userId="d95ade4d-0576-43d0-bb19-3f7a19f59750" providerId="ADAL" clId="{B1B93207-B0B2-4C9C-980C-0D6113ACFE50}" dt="2025-02-12T18:25:13.480" v="2162"/>
          <ac:spMkLst>
            <pc:docMk/>
            <pc:sldMk cId="3934947838" sldId="2147483644"/>
            <ac:spMk id="6" creationId="{A472AB25-8867-65D5-B70C-935CACAB0767}"/>
          </ac:spMkLst>
        </pc:spChg>
        <pc:spChg chg="mod">
          <ac:chgData name="Joseph, Tyler" userId="d95ade4d-0576-43d0-bb19-3f7a19f59750" providerId="ADAL" clId="{B1B93207-B0B2-4C9C-980C-0D6113ACFE50}" dt="2025-02-12T18:25:13.480" v="2162"/>
          <ac:spMkLst>
            <pc:docMk/>
            <pc:sldMk cId="3934947838" sldId="2147483644"/>
            <ac:spMk id="8" creationId="{C97AF4B5-0D52-6443-C4DE-F7846BAF0D8F}"/>
          </ac:spMkLst>
        </pc:spChg>
        <pc:spChg chg="del">
          <ac:chgData name="Joseph, Tyler" userId="d95ade4d-0576-43d0-bb19-3f7a19f59750" providerId="ADAL" clId="{B1B93207-B0B2-4C9C-980C-0D6113ACFE50}" dt="2025-02-12T18:06:24.119" v="195" actId="478"/>
          <ac:spMkLst>
            <pc:docMk/>
            <pc:sldMk cId="3934947838" sldId="2147483644"/>
            <ac:spMk id="15" creationId="{FF571B6C-4D06-5BCD-41BC-0EA52F027F9A}"/>
          </ac:spMkLst>
        </pc:spChg>
        <pc:grpChg chg="add mod">
          <ac:chgData name="Joseph, Tyler" userId="d95ade4d-0576-43d0-bb19-3f7a19f59750" providerId="ADAL" clId="{B1B93207-B0B2-4C9C-980C-0D6113ACFE50}" dt="2025-02-12T18:25:16.991" v="2171" actId="1035"/>
          <ac:grpSpMkLst>
            <pc:docMk/>
            <pc:sldMk cId="3934947838" sldId="2147483644"/>
            <ac:grpSpMk id="3" creationId="{98CADB8C-29B4-D4FE-DC07-109514FEBF00}"/>
          </ac:grpSpMkLst>
        </pc:grpChg>
        <pc:graphicFrameChg chg="mod modGraphic">
          <ac:chgData name="Joseph, Tyler" userId="d95ade4d-0576-43d0-bb19-3f7a19f59750" providerId="ADAL" clId="{B1B93207-B0B2-4C9C-980C-0D6113ACFE50}" dt="2025-02-13T16:46:52.553" v="2598" actId="207"/>
          <ac:graphicFrameMkLst>
            <pc:docMk/>
            <pc:sldMk cId="3934947838" sldId="2147483644"/>
            <ac:graphicFrameMk id="27" creationId="{DEA77936-3146-215B-BA1B-0E81F1140F22}"/>
          </ac:graphicFrameMkLst>
        </pc:graphicFrameChg>
      </pc:sldChg>
      <pc:sldChg chg="addSp delSp modSp mod">
        <pc:chgData name="Joseph, Tyler" userId="d95ade4d-0576-43d0-bb19-3f7a19f59750" providerId="ADAL" clId="{B1B93207-B0B2-4C9C-980C-0D6113ACFE50}" dt="2025-02-12T18:03:26.435" v="193"/>
        <pc:sldMkLst>
          <pc:docMk/>
          <pc:sldMk cId="409087279" sldId="2147483645"/>
        </pc:sldMkLst>
        <pc:spChg chg="mod">
          <ac:chgData name="Joseph, Tyler" userId="d95ade4d-0576-43d0-bb19-3f7a19f59750" providerId="ADAL" clId="{B1B93207-B0B2-4C9C-980C-0D6113ACFE50}" dt="2025-02-12T18:03:26.414" v="170" actId="948"/>
          <ac:spMkLst>
            <pc:docMk/>
            <pc:sldMk cId="409087279" sldId="2147483645"/>
            <ac:spMk id="2" creationId="{04722093-048E-856F-1695-93883874AB55}"/>
          </ac:spMkLst>
        </pc:spChg>
        <pc:spChg chg="add del mod modVis">
          <ac:chgData name="Joseph, Tyler" userId="d95ade4d-0576-43d0-bb19-3f7a19f59750" providerId="ADAL" clId="{B1B93207-B0B2-4C9C-980C-0D6113ACFE50}" dt="2025-02-12T18:03:25.030" v="138"/>
          <ac:spMkLst>
            <pc:docMk/>
            <pc:sldMk cId="409087279" sldId="2147483645"/>
            <ac:spMk id="3" creationId="{CEC25DDB-F0BF-D4ED-B23F-FFC804049AEE}"/>
          </ac:spMkLst>
        </pc:spChg>
        <pc:spChg chg="add del mod modVis">
          <ac:chgData name="Joseph, Tyler" userId="d95ade4d-0576-43d0-bb19-3f7a19f59750" providerId="ADAL" clId="{B1B93207-B0B2-4C9C-980C-0D6113ACFE50}" dt="2025-02-12T18:03:25.619" v="164"/>
          <ac:spMkLst>
            <pc:docMk/>
            <pc:sldMk cId="409087279" sldId="2147483645"/>
            <ac:spMk id="5" creationId="{505EAFEF-F824-685C-2E78-FF4FC63B7D1F}"/>
          </ac:spMkLst>
        </pc:spChg>
        <pc:spChg chg="add del mod modVis">
          <ac:chgData name="Joseph, Tyler" userId="d95ade4d-0576-43d0-bb19-3f7a19f59750" providerId="ADAL" clId="{B1B93207-B0B2-4C9C-980C-0D6113ACFE50}" dt="2025-02-12T18:03:26.435" v="191"/>
          <ac:spMkLst>
            <pc:docMk/>
            <pc:sldMk cId="409087279" sldId="2147483645"/>
            <ac:spMk id="6" creationId="{6527B5BB-1B44-1F2E-4619-7FFDAC1B68E2}"/>
          </ac:spMkLst>
        </pc:spChg>
        <pc:graphicFrameChg chg="mod">
          <ac:chgData name="Joseph, Tyler" userId="d95ade4d-0576-43d0-bb19-3f7a19f59750" providerId="ADAL" clId="{B1B93207-B0B2-4C9C-980C-0D6113ACFE50}" dt="2025-02-12T18:03:26.435" v="193"/>
          <ac:graphicFrameMkLst>
            <pc:docMk/>
            <pc:sldMk cId="409087279" sldId="2147483645"/>
            <ac:graphicFrameMk id="4" creationId="{B938888C-EFB3-CD59-93BE-6F59001C9DE5}"/>
          </ac:graphicFrameMkLst>
        </pc:graphicFrameChg>
      </pc:sldChg>
      <pc:sldChg chg="del">
        <pc:chgData name="Joseph, Tyler" userId="d95ade4d-0576-43d0-bb19-3f7a19f59750" providerId="ADAL" clId="{B1B93207-B0B2-4C9C-980C-0D6113ACFE50}" dt="2025-02-12T18:03:12.309" v="89" actId="47"/>
        <pc:sldMkLst>
          <pc:docMk/>
          <pc:sldMk cId="992381457" sldId="2147483646"/>
        </pc:sldMkLst>
      </pc:sldChg>
      <pc:sldChg chg="addSp delSp modSp new del mod">
        <pc:chgData name="Joseph, Tyler" userId="d95ade4d-0576-43d0-bb19-3f7a19f59750" providerId="ADAL" clId="{B1B93207-B0B2-4C9C-980C-0D6113ACFE50}" dt="2025-02-12T18:20:30.540" v="1897" actId="47"/>
        <pc:sldMkLst>
          <pc:docMk/>
          <pc:sldMk cId="3524118074" sldId="2147483646"/>
        </pc:sldMkLst>
        <pc:spChg chg="mod">
          <ac:chgData name="Joseph, Tyler" userId="d95ade4d-0576-43d0-bb19-3f7a19f59750" providerId="ADAL" clId="{B1B93207-B0B2-4C9C-980C-0D6113ACFE50}" dt="2025-02-12T18:18:06.828" v="1768" actId="948"/>
          <ac:spMkLst>
            <pc:docMk/>
            <pc:sldMk cId="3524118074" sldId="2147483646"/>
            <ac:spMk id="2" creationId="{3389B6DB-D78C-A5CC-17CB-3125C085C6E4}"/>
          </ac:spMkLst>
        </pc:spChg>
        <pc:spChg chg="add del mod modVis">
          <ac:chgData name="Joseph, Tyler" userId="d95ade4d-0576-43d0-bb19-3f7a19f59750" providerId="ADAL" clId="{B1B93207-B0B2-4C9C-980C-0D6113ACFE50}" dt="2025-02-12T18:12:58.667" v="253"/>
          <ac:spMkLst>
            <pc:docMk/>
            <pc:sldMk cId="3524118074" sldId="2147483646"/>
            <ac:spMk id="6" creationId="{DDFE6C1B-4D6F-0D2E-C95D-0C67A35D1046}"/>
          </ac:spMkLst>
        </pc:spChg>
        <pc:spChg chg="add del mod modVis">
          <ac:chgData name="Joseph, Tyler" userId="d95ade4d-0576-43d0-bb19-3f7a19f59750" providerId="ADAL" clId="{B1B93207-B0B2-4C9C-980C-0D6113ACFE50}" dt="2025-02-12T18:12:59.615" v="280"/>
          <ac:spMkLst>
            <pc:docMk/>
            <pc:sldMk cId="3524118074" sldId="2147483646"/>
            <ac:spMk id="7" creationId="{70B6E239-596C-EB53-26F2-2A5000FCC020}"/>
          </ac:spMkLst>
        </pc:spChg>
        <pc:spChg chg="add del mod modVis">
          <ac:chgData name="Joseph, Tyler" userId="d95ade4d-0576-43d0-bb19-3f7a19f59750" providerId="ADAL" clId="{B1B93207-B0B2-4C9C-980C-0D6113ACFE50}" dt="2025-02-12T18:13:01.188" v="315"/>
          <ac:spMkLst>
            <pc:docMk/>
            <pc:sldMk cId="3524118074" sldId="2147483646"/>
            <ac:spMk id="8" creationId="{ACD3CEC7-C371-23B5-EF4C-80857B5C556C}"/>
          </ac:spMkLst>
        </pc:spChg>
        <pc:spChg chg="add del mod modVis">
          <ac:chgData name="Joseph, Tyler" userId="d95ade4d-0576-43d0-bb19-3f7a19f59750" providerId="ADAL" clId="{B1B93207-B0B2-4C9C-980C-0D6113ACFE50}" dt="2025-02-12T18:13:03.097" v="340"/>
          <ac:spMkLst>
            <pc:docMk/>
            <pc:sldMk cId="3524118074" sldId="2147483646"/>
            <ac:spMk id="9" creationId="{F113C960-6AE5-30AB-539C-9C3F36EE5A73}"/>
          </ac:spMkLst>
        </pc:spChg>
        <pc:spChg chg="add del mod modVis">
          <ac:chgData name="Joseph, Tyler" userId="d95ade4d-0576-43d0-bb19-3f7a19f59750" providerId="ADAL" clId="{B1B93207-B0B2-4C9C-980C-0D6113ACFE50}" dt="2025-02-12T18:13:04.297" v="365"/>
          <ac:spMkLst>
            <pc:docMk/>
            <pc:sldMk cId="3524118074" sldId="2147483646"/>
            <ac:spMk id="10" creationId="{FFFEF4B3-5F66-F7AC-F027-4FCCEC6C0E92}"/>
          </ac:spMkLst>
        </pc:spChg>
        <pc:spChg chg="add del mod modVis">
          <ac:chgData name="Joseph, Tyler" userId="d95ade4d-0576-43d0-bb19-3f7a19f59750" providerId="ADAL" clId="{B1B93207-B0B2-4C9C-980C-0D6113ACFE50}" dt="2025-02-12T18:13:11.292" v="425"/>
          <ac:spMkLst>
            <pc:docMk/>
            <pc:sldMk cId="3524118074" sldId="2147483646"/>
            <ac:spMk id="11" creationId="{C2059F77-850B-F825-E4AE-E25D3A3AFB00}"/>
          </ac:spMkLst>
        </pc:spChg>
        <pc:spChg chg="add del mod modVis">
          <ac:chgData name="Joseph, Tyler" userId="d95ade4d-0576-43d0-bb19-3f7a19f59750" providerId="ADAL" clId="{B1B93207-B0B2-4C9C-980C-0D6113ACFE50}" dt="2025-02-12T18:13:12.253" v="458"/>
          <ac:spMkLst>
            <pc:docMk/>
            <pc:sldMk cId="3524118074" sldId="2147483646"/>
            <ac:spMk id="12" creationId="{061B3ECF-90F5-FED8-9221-069C94DAFA42}"/>
          </ac:spMkLst>
        </pc:spChg>
        <pc:spChg chg="add del mod modVis">
          <ac:chgData name="Joseph, Tyler" userId="d95ade4d-0576-43d0-bb19-3f7a19f59750" providerId="ADAL" clId="{B1B93207-B0B2-4C9C-980C-0D6113ACFE50}" dt="2025-02-12T18:13:14.651" v="499"/>
          <ac:spMkLst>
            <pc:docMk/>
            <pc:sldMk cId="3524118074" sldId="2147483646"/>
            <ac:spMk id="13" creationId="{A2BDEFAC-D454-8D1D-C35A-676DAF4079D8}"/>
          </ac:spMkLst>
        </pc:spChg>
        <pc:spChg chg="add del mod modVis">
          <ac:chgData name="Joseph, Tyler" userId="d95ade4d-0576-43d0-bb19-3f7a19f59750" providerId="ADAL" clId="{B1B93207-B0B2-4C9C-980C-0D6113ACFE50}" dt="2025-02-12T18:13:15.907" v="526"/>
          <ac:spMkLst>
            <pc:docMk/>
            <pc:sldMk cId="3524118074" sldId="2147483646"/>
            <ac:spMk id="14" creationId="{3EB8B78C-C366-AAF7-AA9A-F5C0CA550BDB}"/>
          </ac:spMkLst>
        </pc:spChg>
        <pc:spChg chg="add del mod modVis">
          <ac:chgData name="Joseph, Tyler" userId="d95ade4d-0576-43d0-bb19-3f7a19f59750" providerId="ADAL" clId="{B1B93207-B0B2-4C9C-980C-0D6113ACFE50}" dt="2025-02-12T18:13:29.138" v="555"/>
          <ac:spMkLst>
            <pc:docMk/>
            <pc:sldMk cId="3524118074" sldId="2147483646"/>
            <ac:spMk id="15" creationId="{3296B9A3-C460-E22C-36F7-77B3E271B847}"/>
          </ac:spMkLst>
        </pc:spChg>
        <pc:spChg chg="add del mod modVis">
          <ac:chgData name="Joseph, Tyler" userId="d95ade4d-0576-43d0-bb19-3f7a19f59750" providerId="ADAL" clId="{B1B93207-B0B2-4C9C-980C-0D6113ACFE50}" dt="2025-02-12T18:13:34.297" v="599"/>
          <ac:spMkLst>
            <pc:docMk/>
            <pc:sldMk cId="3524118074" sldId="2147483646"/>
            <ac:spMk id="16" creationId="{EB1A2600-D455-CE7C-7DD2-622A3639985B}"/>
          </ac:spMkLst>
        </pc:spChg>
        <pc:spChg chg="add del mod modVis">
          <ac:chgData name="Joseph, Tyler" userId="d95ade4d-0576-43d0-bb19-3f7a19f59750" providerId="ADAL" clId="{B1B93207-B0B2-4C9C-980C-0D6113ACFE50}" dt="2025-02-12T18:13:38.879" v="637"/>
          <ac:spMkLst>
            <pc:docMk/>
            <pc:sldMk cId="3524118074" sldId="2147483646"/>
            <ac:spMk id="17" creationId="{A48A84B7-2E29-B2C2-864A-3082FB3F8E92}"/>
          </ac:spMkLst>
        </pc:spChg>
        <pc:spChg chg="add del mod modVis">
          <ac:chgData name="Joseph, Tyler" userId="d95ade4d-0576-43d0-bb19-3f7a19f59750" providerId="ADAL" clId="{B1B93207-B0B2-4C9C-980C-0D6113ACFE50}" dt="2025-02-12T18:13:39.678" v="662"/>
          <ac:spMkLst>
            <pc:docMk/>
            <pc:sldMk cId="3524118074" sldId="2147483646"/>
            <ac:spMk id="18" creationId="{DB01FA6B-5778-8713-9323-A55FE5EE6F61}"/>
          </ac:spMkLst>
        </pc:spChg>
        <pc:spChg chg="add del mod modVis">
          <ac:chgData name="Joseph, Tyler" userId="d95ade4d-0576-43d0-bb19-3f7a19f59750" providerId="ADAL" clId="{B1B93207-B0B2-4C9C-980C-0D6113ACFE50}" dt="2025-02-12T18:13:44.068" v="715"/>
          <ac:spMkLst>
            <pc:docMk/>
            <pc:sldMk cId="3524118074" sldId="2147483646"/>
            <ac:spMk id="19" creationId="{A5CAA403-5DC4-014E-A07B-290AFF1ED51E}"/>
          </ac:spMkLst>
        </pc:spChg>
        <pc:spChg chg="add del mod modVis">
          <ac:chgData name="Joseph, Tyler" userId="d95ade4d-0576-43d0-bb19-3f7a19f59750" providerId="ADAL" clId="{B1B93207-B0B2-4C9C-980C-0D6113ACFE50}" dt="2025-02-12T18:13:46.397" v="752"/>
          <ac:spMkLst>
            <pc:docMk/>
            <pc:sldMk cId="3524118074" sldId="2147483646"/>
            <ac:spMk id="20" creationId="{30696841-8061-DD9A-A322-3757907C5772}"/>
          </ac:spMkLst>
        </pc:spChg>
        <pc:spChg chg="add del mod modVis">
          <ac:chgData name="Joseph, Tyler" userId="d95ade4d-0576-43d0-bb19-3f7a19f59750" providerId="ADAL" clId="{B1B93207-B0B2-4C9C-980C-0D6113ACFE50}" dt="2025-02-12T18:13:48.238" v="783"/>
          <ac:spMkLst>
            <pc:docMk/>
            <pc:sldMk cId="3524118074" sldId="2147483646"/>
            <ac:spMk id="21" creationId="{698F4F64-2AA0-EA6E-3C3F-E520D24F9BA7}"/>
          </ac:spMkLst>
        </pc:spChg>
        <pc:spChg chg="add del mod modVis">
          <ac:chgData name="Joseph, Tyler" userId="d95ade4d-0576-43d0-bb19-3f7a19f59750" providerId="ADAL" clId="{B1B93207-B0B2-4C9C-980C-0D6113ACFE50}" dt="2025-02-12T18:13:50.836" v="813"/>
          <ac:spMkLst>
            <pc:docMk/>
            <pc:sldMk cId="3524118074" sldId="2147483646"/>
            <ac:spMk id="22" creationId="{0208DCD6-EC59-ED94-8706-71C2C03E5173}"/>
          </ac:spMkLst>
        </pc:spChg>
        <pc:spChg chg="add del mod modVis">
          <ac:chgData name="Joseph, Tyler" userId="d95ade4d-0576-43d0-bb19-3f7a19f59750" providerId="ADAL" clId="{B1B93207-B0B2-4C9C-980C-0D6113ACFE50}" dt="2025-02-12T18:13:51.667" v="841"/>
          <ac:spMkLst>
            <pc:docMk/>
            <pc:sldMk cId="3524118074" sldId="2147483646"/>
            <ac:spMk id="23" creationId="{679704EB-99BA-AAAD-55BB-ECEC030A4AC1}"/>
          </ac:spMkLst>
        </pc:spChg>
        <pc:spChg chg="add del mod modVis">
          <ac:chgData name="Joseph, Tyler" userId="d95ade4d-0576-43d0-bb19-3f7a19f59750" providerId="ADAL" clId="{B1B93207-B0B2-4C9C-980C-0D6113ACFE50}" dt="2025-02-12T18:14:36.508" v="868"/>
          <ac:spMkLst>
            <pc:docMk/>
            <pc:sldMk cId="3524118074" sldId="2147483646"/>
            <ac:spMk id="24" creationId="{B8CAB424-93FA-927D-06EE-83833E1618CB}"/>
          </ac:spMkLst>
        </pc:spChg>
        <pc:spChg chg="add del mod modVis">
          <ac:chgData name="Joseph, Tyler" userId="d95ade4d-0576-43d0-bb19-3f7a19f59750" providerId="ADAL" clId="{B1B93207-B0B2-4C9C-980C-0D6113ACFE50}" dt="2025-02-12T18:14:37.808" v="895"/>
          <ac:spMkLst>
            <pc:docMk/>
            <pc:sldMk cId="3524118074" sldId="2147483646"/>
            <ac:spMk id="25" creationId="{EC8563FB-4C17-4575-1A73-30507FD3336F}"/>
          </ac:spMkLst>
        </pc:spChg>
        <pc:spChg chg="add del mod modVis">
          <ac:chgData name="Joseph, Tyler" userId="d95ade4d-0576-43d0-bb19-3f7a19f59750" providerId="ADAL" clId="{B1B93207-B0B2-4C9C-980C-0D6113ACFE50}" dt="2025-02-12T18:14:41.967" v="927"/>
          <ac:spMkLst>
            <pc:docMk/>
            <pc:sldMk cId="3524118074" sldId="2147483646"/>
            <ac:spMk id="26" creationId="{B4EA9E34-4B42-2A97-111C-90162EC10840}"/>
          </ac:spMkLst>
        </pc:spChg>
        <pc:spChg chg="add del mod modVis">
          <ac:chgData name="Joseph, Tyler" userId="d95ade4d-0576-43d0-bb19-3f7a19f59750" providerId="ADAL" clId="{B1B93207-B0B2-4C9C-980C-0D6113ACFE50}" dt="2025-02-12T18:14:48.988" v="953"/>
          <ac:spMkLst>
            <pc:docMk/>
            <pc:sldMk cId="3524118074" sldId="2147483646"/>
            <ac:spMk id="27" creationId="{8294C992-BB47-7552-D84D-F9C39D237AB0}"/>
          </ac:spMkLst>
        </pc:spChg>
        <pc:spChg chg="add del mod modVis">
          <ac:chgData name="Joseph, Tyler" userId="d95ade4d-0576-43d0-bb19-3f7a19f59750" providerId="ADAL" clId="{B1B93207-B0B2-4C9C-980C-0D6113ACFE50}" dt="2025-02-12T18:14:51.977" v="995"/>
          <ac:spMkLst>
            <pc:docMk/>
            <pc:sldMk cId="3524118074" sldId="2147483646"/>
            <ac:spMk id="28" creationId="{4CC64CCB-8348-C9E6-0FC1-C7D0F181BC29}"/>
          </ac:spMkLst>
        </pc:spChg>
        <pc:spChg chg="add del mod modVis">
          <ac:chgData name="Joseph, Tyler" userId="d95ade4d-0576-43d0-bb19-3f7a19f59750" providerId="ADAL" clId="{B1B93207-B0B2-4C9C-980C-0D6113ACFE50}" dt="2025-02-12T18:14:57.127" v="1036"/>
          <ac:spMkLst>
            <pc:docMk/>
            <pc:sldMk cId="3524118074" sldId="2147483646"/>
            <ac:spMk id="29" creationId="{C24FF0B4-910A-FA23-3116-67AF9A9A5CCF}"/>
          </ac:spMkLst>
        </pc:spChg>
        <pc:spChg chg="add del mod modVis">
          <ac:chgData name="Joseph, Tyler" userId="d95ade4d-0576-43d0-bb19-3f7a19f59750" providerId="ADAL" clId="{B1B93207-B0B2-4C9C-980C-0D6113ACFE50}" dt="2025-02-12T18:14:59.539" v="1079"/>
          <ac:spMkLst>
            <pc:docMk/>
            <pc:sldMk cId="3524118074" sldId="2147483646"/>
            <ac:spMk id="30" creationId="{80B02D57-803B-F57B-F764-AEFC26E0309E}"/>
          </ac:spMkLst>
        </pc:spChg>
        <pc:spChg chg="add del mod modVis">
          <ac:chgData name="Joseph, Tyler" userId="d95ade4d-0576-43d0-bb19-3f7a19f59750" providerId="ADAL" clId="{B1B93207-B0B2-4C9C-980C-0D6113ACFE50}" dt="2025-02-12T18:15:00.608" v="1104"/>
          <ac:spMkLst>
            <pc:docMk/>
            <pc:sldMk cId="3524118074" sldId="2147483646"/>
            <ac:spMk id="31" creationId="{9BBAF693-EB88-A832-DE03-DB3BDB051967}"/>
          </ac:spMkLst>
        </pc:spChg>
        <pc:spChg chg="add del mod modVis">
          <ac:chgData name="Joseph, Tyler" userId="d95ade4d-0576-43d0-bb19-3f7a19f59750" providerId="ADAL" clId="{B1B93207-B0B2-4C9C-980C-0D6113ACFE50}" dt="2025-02-12T18:15:02.936" v="1134"/>
          <ac:spMkLst>
            <pc:docMk/>
            <pc:sldMk cId="3524118074" sldId="2147483646"/>
            <ac:spMk id="32" creationId="{44009C29-ABBA-F07F-A3A0-41E98A1560FC}"/>
          </ac:spMkLst>
        </pc:spChg>
        <pc:spChg chg="add del mod modVis">
          <ac:chgData name="Joseph, Tyler" userId="d95ade4d-0576-43d0-bb19-3f7a19f59750" providerId="ADAL" clId="{B1B93207-B0B2-4C9C-980C-0D6113ACFE50}" dt="2025-02-12T18:15:04.069" v="1163"/>
          <ac:spMkLst>
            <pc:docMk/>
            <pc:sldMk cId="3524118074" sldId="2147483646"/>
            <ac:spMk id="33" creationId="{826B829D-93DF-7CF5-FDED-13DC463AA154}"/>
          </ac:spMkLst>
        </pc:spChg>
        <pc:spChg chg="add del mod modVis">
          <ac:chgData name="Joseph, Tyler" userId="d95ade4d-0576-43d0-bb19-3f7a19f59750" providerId="ADAL" clId="{B1B93207-B0B2-4C9C-980C-0D6113ACFE50}" dt="2025-02-12T18:15:41.286" v="1263"/>
          <ac:spMkLst>
            <pc:docMk/>
            <pc:sldMk cId="3524118074" sldId="2147483646"/>
            <ac:spMk id="34" creationId="{66338E59-56D7-9B76-8E7C-4D773A09458B}"/>
          </ac:spMkLst>
        </pc:spChg>
        <pc:spChg chg="add del mod modVis">
          <ac:chgData name="Joseph, Tyler" userId="d95ade4d-0576-43d0-bb19-3f7a19f59750" providerId="ADAL" clId="{B1B93207-B0B2-4C9C-980C-0D6113ACFE50}" dt="2025-02-12T18:15:42.188" v="1301"/>
          <ac:spMkLst>
            <pc:docMk/>
            <pc:sldMk cId="3524118074" sldId="2147483646"/>
            <ac:spMk id="35" creationId="{4F73DF00-D830-09F4-1AE4-DA232BC2334A}"/>
          </ac:spMkLst>
        </pc:spChg>
        <pc:spChg chg="add del mod modVis">
          <ac:chgData name="Joseph, Tyler" userId="d95ade4d-0576-43d0-bb19-3f7a19f59750" providerId="ADAL" clId="{B1B93207-B0B2-4C9C-980C-0D6113ACFE50}" dt="2025-02-12T18:15:46.128" v="1356"/>
          <ac:spMkLst>
            <pc:docMk/>
            <pc:sldMk cId="3524118074" sldId="2147483646"/>
            <ac:spMk id="36" creationId="{8202A072-1383-E65B-10F1-536566036BC7}"/>
          </ac:spMkLst>
        </pc:spChg>
        <pc:spChg chg="add del mod modVis">
          <ac:chgData name="Joseph, Tyler" userId="d95ade4d-0576-43d0-bb19-3f7a19f59750" providerId="ADAL" clId="{B1B93207-B0B2-4C9C-980C-0D6113ACFE50}" dt="2025-02-12T18:16:31.781" v="1382"/>
          <ac:spMkLst>
            <pc:docMk/>
            <pc:sldMk cId="3524118074" sldId="2147483646"/>
            <ac:spMk id="37" creationId="{E676B6D2-19FC-52C7-DDCD-90E726F7AF25}"/>
          </ac:spMkLst>
        </pc:spChg>
        <pc:spChg chg="add del mod modVis">
          <ac:chgData name="Joseph, Tyler" userId="d95ade4d-0576-43d0-bb19-3f7a19f59750" providerId="ADAL" clId="{B1B93207-B0B2-4C9C-980C-0D6113ACFE50}" dt="2025-02-12T18:16:36.677" v="1427"/>
          <ac:spMkLst>
            <pc:docMk/>
            <pc:sldMk cId="3524118074" sldId="2147483646"/>
            <ac:spMk id="38" creationId="{2B263ABB-0DB2-43C1-81AF-85DCB90C53CE}"/>
          </ac:spMkLst>
        </pc:spChg>
        <pc:spChg chg="add del mod modVis">
          <ac:chgData name="Joseph, Tyler" userId="d95ade4d-0576-43d0-bb19-3f7a19f59750" providerId="ADAL" clId="{B1B93207-B0B2-4C9C-980C-0D6113ACFE50}" dt="2025-02-12T18:16:37.569" v="1452"/>
          <ac:spMkLst>
            <pc:docMk/>
            <pc:sldMk cId="3524118074" sldId="2147483646"/>
            <ac:spMk id="39" creationId="{6A824444-AC45-D77E-9D85-509DF8F6D37B}"/>
          </ac:spMkLst>
        </pc:spChg>
        <pc:spChg chg="add del mod modVis">
          <ac:chgData name="Joseph, Tyler" userId="d95ade4d-0576-43d0-bb19-3f7a19f59750" providerId="ADAL" clId="{B1B93207-B0B2-4C9C-980C-0D6113ACFE50}" dt="2025-02-12T18:17:38.598" v="1477"/>
          <ac:spMkLst>
            <pc:docMk/>
            <pc:sldMk cId="3524118074" sldId="2147483646"/>
            <ac:spMk id="40" creationId="{ED65C5FF-750A-364C-2C7B-EDA5A7F2188D}"/>
          </ac:spMkLst>
        </pc:spChg>
        <pc:spChg chg="add del mod modVis">
          <ac:chgData name="Joseph, Tyler" userId="d95ade4d-0576-43d0-bb19-3f7a19f59750" providerId="ADAL" clId="{B1B93207-B0B2-4C9C-980C-0D6113ACFE50}" dt="2025-02-12T18:17:41.129" v="1502"/>
          <ac:spMkLst>
            <pc:docMk/>
            <pc:sldMk cId="3524118074" sldId="2147483646"/>
            <ac:spMk id="41" creationId="{54955165-5467-3493-C99D-A8E3D97B98C5}"/>
          </ac:spMkLst>
        </pc:spChg>
        <pc:spChg chg="add del mod modVis">
          <ac:chgData name="Joseph, Tyler" userId="d95ade4d-0576-43d0-bb19-3f7a19f59750" providerId="ADAL" clId="{B1B93207-B0B2-4C9C-980C-0D6113ACFE50}" dt="2025-02-12T18:17:43.652" v="1528"/>
          <ac:spMkLst>
            <pc:docMk/>
            <pc:sldMk cId="3524118074" sldId="2147483646"/>
            <ac:spMk id="42" creationId="{6C05154D-C118-3F21-009C-30FE40B244BF}"/>
          </ac:spMkLst>
        </pc:spChg>
        <pc:spChg chg="add del mod modVis">
          <ac:chgData name="Joseph, Tyler" userId="d95ade4d-0576-43d0-bb19-3f7a19f59750" providerId="ADAL" clId="{B1B93207-B0B2-4C9C-980C-0D6113ACFE50}" dt="2025-02-12T18:17:49.272" v="1560"/>
          <ac:spMkLst>
            <pc:docMk/>
            <pc:sldMk cId="3524118074" sldId="2147483646"/>
            <ac:spMk id="43" creationId="{4C0D517B-1D44-BE49-5A12-12B3D2317C9A}"/>
          </ac:spMkLst>
        </pc:spChg>
        <pc:spChg chg="add del mod modVis">
          <ac:chgData name="Joseph, Tyler" userId="d95ade4d-0576-43d0-bb19-3f7a19f59750" providerId="ADAL" clId="{B1B93207-B0B2-4C9C-980C-0D6113ACFE50}" dt="2025-02-12T18:17:50.679" v="1588"/>
          <ac:spMkLst>
            <pc:docMk/>
            <pc:sldMk cId="3524118074" sldId="2147483646"/>
            <ac:spMk id="44" creationId="{0679075B-7B83-F546-DEA4-36888293B3B6}"/>
          </ac:spMkLst>
        </pc:spChg>
        <pc:spChg chg="add del mod modVis">
          <ac:chgData name="Joseph, Tyler" userId="d95ade4d-0576-43d0-bb19-3f7a19f59750" providerId="ADAL" clId="{B1B93207-B0B2-4C9C-980C-0D6113ACFE50}" dt="2025-02-12T18:17:56.158" v="1633"/>
          <ac:spMkLst>
            <pc:docMk/>
            <pc:sldMk cId="3524118074" sldId="2147483646"/>
            <ac:spMk id="45" creationId="{8528B473-1353-EEF9-16C3-ED2743C3BA52}"/>
          </ac:spMkLst>
        </pc:spChg>
        <pc:spChg chg="add del mod modVis">
          <ac:chgData name="Joseph, Tyler" userId="d95ade4d-0576-43d0-bb19-3f7a19f59750" providerId="ADAL" clId="{B1B93207-B0B2-4C9C-980C-0D6113ACFE50}" dt="2025-02-12T18:17:58.148" v="1666"/>
          <ac:spMkLst>
            <pc:docMk/>
            <pc:sldMk cId="3524118074" sldId="2147483646"/>
            <ac:spMk id="46" creationId="{5C3A3EA0-9918-D9E8-7D27-9DB59E4528E2}"/>
          </ac:spMkLst>
        </pc:spChg>
        <pc:spChg chg="add del mod modVis">
          <ac:chgData name="Joseph, Tyler" userId="d95ade4d-0576-43d0-bb19-3f7a19f59750" providerId="ADAL" clId="{B1B93207-B0B2-4C9C-980C-0D6113ACFE50}" dt="2025-02-12T18:17:59.979" v="1696"/>
          <ac:spMkLst>
            <pc:docMk/>
            <pc:sldMk cId="3524118074" sldId="2147483646"/>
            <ac:spMk id="47" creationId="{632F83EE-049C-5730-E422-1CF10161D006}"/>
          </ac:spMkLst>
        </pc:spChg>
        <pc:spChg chg="add del mod modVis">
          <ac:chgData name="Joseph, Tyler" userId="d95ade4d-0576-43d0-bb19-3f7a19f59750" providerId="ADAL" clId="{B1B93207-B0B2-4C9C-980C-0D6113ACFE50}" dt="2025-02-12T18:18:01.569" v="1723"/>
          <ac:spMkLst>
            <pc:docMk/>
            <pc:sldMk cId="3524118074" sldId="2147483646"/>
            <ac:spMk id="48" creationId="{DC5B0D29-A921-0318-BDD9-9C88D1A15DC5}"/>
          </ac:spMkLst>
        </pc:spChg>
        <pc:spChg chg="add del mod modVis">
          <ac:chgData name="Joseph, Tyler" userId="d95ade4d-0576-43d0-bb19-3f7a19f59750" providerId="ADAL" clId="{B1B93207-B0B2-4C9C-980C-0D6113ACFE50}" dt="2025-02-12T18:18:05.459" v="1760"/>
          <ac:spMkLst>
            <pc:docMk/>
            <pc:sldMk cId="3524118074" sldId="2147483646"/>
            <ac:spMk id="49" creationId="{08D35CC0-CCDC-3E88-ED57-9D19AAF1AA85}"/>
          </ac:spMkLst>
        </pc:spChg>
        <pc:spChg chg="add del mod modVis">
          <ac:chgData name="Joseph, Tyler" userId="d95ade4d-0576-43d0-bb19-3f7a19f59750" providerId="ADAL" clId="{B1B93207-B0B2-4C9C-980C-0D6113ACFE50}" dt="2025-02-12T18:18:06.851" v="1789"/>
          <ac:spMkLst>
            <pc:docMk/>
            <pc:sldMk cId="3524118074" sldId="2147483646"/>
            <ac:spMk id="50" creationId="{223B87E8-2D2F-9E5D-368A-50B0EA5EA9DF}"/>
          </ac:spMkLst>
        </pc:spChg>
        <pc:graphicFrameChg chg="add mod ord modVis">
          <ac:chgData name="Joseph, Tyler" userId="d95ade4d-0576-43d0-bb19-3f7a19f59750" providerId="ADAL" clId="{B1B93207-B0B2-4C9C-980C-0D6113ACFE50}" dt="2025-02-12T18:18:06.852" v="1791"/>
          <ac:graphicFrameMkLst>
            <pc:docMk/>
            <pc:sldMk cId="3524118074" sldId="2147483646"/>
            <ac:graphicFrameMk id="5" creationId="{58E97DD6-AC37-8B8A-A31C-9746A8C0567B}"/>
          </ac:graphicFrameMkLst>
        </pc:graphicFrameChg>
        <pc:picChg chg="add mod">
          <ac:chgData name="Joseph, Tyler" userId="d95ade4d-0576-43d0-bb19-3f7a19f59750" providerId="ADAL" clId="{B1B93207-B0B2-4C9C-980C-0D6113ACFE50}" dt="2025-02-12T18:09:43.786" v="203"/>
          <ac:picMkLst>
            <pc:docMk/>
            <pc:sldMk cId="3524118074" sldId="2147483646"/>
            <ac:picMk id="4" creationId="{172C02E6-BD79-0789-C426-1471420F8B1C}"/>
          </ac:picMkLst>
        </pc:picChg>
      </pc:sldChg>
      <pc:sldChg chg="addSp delSp modSp new mod">
        <pc:chgData name="Joseph, Tyler" userId="d95ade4d-0576-43d0-bb19-3f7a19f59750" providerId="ADAL" clId="{B1B93207-B0B2-4C9C-980C-0D6113ACFE50}" dt="2025-02-13T16:47:47.841" v="2663" actId="20577"/>
        <pc:sldMkLst>
          <pc:docMk/>
          <pc:sldMk cId="3403764828" sldId="2147483647"/>
        </pc:sldMkLst>
        <pc:spChg chg="mod">
          <ac:chgData name="Joseph, Tyler" userId="d95ade4d-0576-43d0-bb19-3f7a19f59750" providerId="ADAL" clId="{B1B93207-B0B2-4C9C-980C-0D6113ACFE50}" dt="2025-02-13T16:47:14.620" v="2627" actId="948"/>
          <ac:spMkLst>
            <pc:docMk/>
            <pc:sldMk cId="3403764828" sldId="2147483647"/>
            <ac:spMk id="2" creationId="{1266B0E9-C854-A177-B480-F6D535A79939}"/>
          </ac:spMkLst>
        </pc:spChg>
        <pc:spChg chg="add mod">
          <ac:chgData name="Joseph, Tyler" userId="d95ade4d-0576-43d0-bb19-3f7a19f59750" providerId="ADAL" clId="{B1B93207-B0B2-4C9C-980C-0D6113ACFE50}" dt="2025-02-12T18:19:03.609" v="1793"/>
          <ac:spMkLst>
            <pc:docMk/>
            <pc:sldMk cId="3403764828" sldId="2147483647"/>
            <ac:spMk id="3" creationId="{8B79D378-0435-2C92-F9B9-D4D497E04D18}"/>
          </ac:spMkLst>
        </pc:spChg>
        <pc:spChg chg="add mod">
          <ac:chgData name="Joseph, Tyler" userId="d95ade4d-0576-43d0-bb19-3f7a19f59750" providerId="ADAL" clId="{B1B93207-B0B2-4C9C-980C-0D6113ACFE50}" dt="2025-02-12T18:19:25.550" v="1798"/>
          <ac:spMkLst>
            <pc:docMk/>
            <pc:sldMk cId="3403764828" sldId="2147483647"/>
            <ac:spMk id="4" creationId="{D59B85FF-90B9-B48F-F165-F952F3C45E86}"/>
          </ac:spMkLst>
        </pc:spChg>
        <pc:spChg chg="add mod">
          <ac:chgData name="Joseph, Tyler" userId="d95ade4d-0576-43d0-bb19-3f7a19f59750" providerId="ADAL" clId="{B1B93207-B0B2-4C9C-980C-0D6113ACFE50}" dt="2025-02-12T18:20:23.669" v="1859" actId="20577"/>
          <ac:spMkLst>
            <pc:docMk/>
            <pc:sldMk cId="3403764828" sldId="2147483647"/>
            <ac:spMk id="5" creationId="{8C63CDC6-23AC-F3AA-F5BF-F5EF1C372C95}"/>
          </ac:spMkLst>
        </pc:spChg>
        <pc:spChg chg="add mod">
          <ac:chgData name="Joseph, Tyler" userId="d95ade4d-0576-43d0-bb19-3f7a19f59750" providerId="ADAL" clId="{B1B93207-B0B2-4C9C-980C-0D6113ACFE50}" dt="2025-02-12T18:20:07.528" v="1856" actId="1035"/>
          <ac:spMkLst>
            <pc:docMk/>
            <pc:sldMk cId="3403764828" sldId="2147483647"/>
            <ac:spMk id="6" creationId="{396F87C6-9772-CC3E-0D46-461B6158BC03}"/>
          </ac:spMkLst>
        </pc:spChg>
        <pc:spChg chg="add mod">
          <ac:chgData name="Joseph, Tyler" userId="d95ade4d-0576-43d0-bb19-3f7a19f59750" providerId="ADAL" clId="{B1B93207-B0B2-4C9C-980C-0D6113ACFE50}" dt="2025-02-12T18:20:02.548" v="1849" actId="14100"/>
          <ac:spMkLst>
            <pc:docMk/>
            <pc:sldMk cId="3403764828" sldId="2147483647"/>
            <ac:spMk id="7" creationId="{17104507-5F79-5CF6-7AA1-51B4CBEDB7B1}"/>
          </ac:spMkLst>
        </pc:spChg>
        <pc:spChg chg="add del mod modVis">
          <ac:chgData name="Joseph, Tyler" userId="d95ade4d-0576-43d0-bb19-3f7a19f59750" providerId="ADAL" clId="{B1B93207-B0B2-4C9C-980C-0D6113ACFE50}" dt="2025-02-13T16:47:12.380" v="2622"/>
          <ac:spMkLst>
            <pc:docMk/>
            <pc:sldMk cId="3403764828" sldId="2147483647"/>
            <ac:spMk id="8" creationId="{A411555B-D49F-F9A3-E86D-096D3ABF6068}"/>
          </ac:spMkLst>
        </pc:spChg>
        <pc:spChg chg="add del mod modVis">
          <ac:chgData name="Joseph, Tyler" userId="d95ade4d-0576-43d0-bb19-3f7a19f59750" providerId="ADAL" clId="{B1B93207-B0B2-4C9C-980C-0D6113ACFE50}" dt="2025-02-13T16:47:14.642" v="2648"/>
          <ac:spMkLst>
            <pc:docMk/>
            <pc:sldMk cId="3403764828" sldId="2147483647"/>
            <ac:spMk id="10" creationId="{75F1A570-4AFF-8070-6B5F-32E072AE55EB}"/>
          </ac:spMkLst>
        </pc:spChg>
        <pc:spChg chg="add del mod modVis">
          <ac:chgData name="Joseph, Tyler" userId="d95ade4d-0576-43d0-bb19-3f7a19f59750" providerId="ADAL" clId="{B1B93207-B0B2-4C9C-980C-0D6113ACFE50}" dt="2025-02-12T18:20:29.480" v="1882"/>
          <ac:spMkLst>
            <pc:docMk/>
            <pc:sldMk cId="3403764828" sldId="2147483647"/>
            <ac:spMk id="10" creationId="{86F1F0FE-7F18-F20F-5D79-C08EECE750FC}"/>
          </ac:spMkLst>
        </pc:spChg>
        <pc:spChg chg="add mod">
          <ac:chgData name="Joseph, Tyler" userId="d95ade4d-0576-43d0-bb19-3f7a19f59750" providerId="ADAL" clId="{B1B93207-B0B2-4C9C-980C-0D6113ACFE50}" dt="2025-02-12T18:28:58.533" v="2404" actId="693"/>
          <ac:spMkLst>
            <pc:docMk/>
            <pc:sldMk cId="3403764828" sldId="2147483647"/>
            <ac:spMk id="12" creationId="{C626AC26-2D4C-E3C2-FECF-E5D5B5FFC0CC}"/>
          </ac:spMkLst>
        </pc:spChg>
        <pc:spChg chg="add mod">
          <ac:chgData name="Joseph, Tyler" userId="d95ade4d-0576-43d0-bb19-3f7a19f59750" providerId="ADAL" clId="{B1B93207-B0B2-4C9C-980C-0D6113ACFE50}" dt="2025-02-12T18:28:58.533" v="2404" actId="693"/>
          <ac:spMkLst>
            <pc:docMk/>
            <pc:sldMk cId="3403764828" sldId="2147483647"/>
            <ac:spMk id="13" creationId="{E2EFAAE8-B2CD-5849-7AFB-925FE5F1DF0E}"/>
          </ac:spMkLst>
        </pc:spChg>
        <pc:spChg chg="add mod">
          <ac:chgData name="Joseph, Tyler" userId="d95ade4d-0576-43d0-bb19-3f7a19f59750" providerId="ADAL" clId="{B1B93207-B0B2-4C9C-980C-0D6113ACFE50}" dt="2025-02-13T16:47:47.841" v="2663" actId="20577"/>
          <ac:spMkLst>
            <pc:docMk/>
            <pc:sldMk cId="3403764828" sldId="2147483647"/>
            <ac:spMk id="14" creationId="{838AE526-6756-38E3-2568-D813E58108E7}"/>
          </ac:spMkLst>
        </pc:spChg>
        <pc:spChg chg="mod">
          <ac:chgData name="Joseph, Tyler" userId="d95ade4d-0576-43d0-bb19-3f7a19f59750" providerId="ADAL" clId="{B1B93207-B0B2-4C9C-980C-0D6113ACFE50}" dt="2025-02-12T18:26:21.801" v="2341"/>
          <ac:spMkLst>
            <pc:docMk/>
            <pc:sldMk cId="3403764828" sldId="2147483647"/>
            <ac:spMk id="16" creationId="{E310291E-0C02-7B92-3546-BE981BF28DF7}"/>
          </ac:spMkLst>
        </pc:spChg>
        <pc:spChg chg="mod">
          <ac:chgData name="Joseph, Tyler" userId="d95ade4d-0576-43d0-bb19-3f7a19f59750" providerId="ADAL" clId="{B1B93207-B0B2-4C9C-980C-0D6113ACFE50}" dt="2025-02-12T19:56:46.644" v="2530" actId="20577"/>
          <ac:spMkLst>
            <pc:docMk/>
            <pc:sldMk cId="3403764828" sldId="2147483647"/>
            <ac:spMk id="17" creationId="{1B767607-2585-2FA6-25A6-753E6E41DFEB}"/>
          </ac:spMkLst>
        </pc:spChg>
        <pc:spChg chg="add mod">
          <ac:chgData name="Joseph, Tyler" userId="d95ade4d-0576-43d0-bb19-3f7a19f59750" providerId="ADAL" clId="{B1B93207-B0B2-4C9C-980C-0D6113ACFE50}" dt="2025-02-12T19:54:33.010" v="2466" actId="2085"/>
          <ac:spMkLst>
            <pc:docMk/>
            <pc:sldMk cId="3403764828" sldId="2147483647"/>
            <ac:spMk id="18" creationId="{FFFB7F55-0162-9978-2674-BC98D7580065}"/>
          </ac:spMkLst>
        </pc:spChg>
        <pc:spChg chg="add mod">
          <ac:chgData name="Joseph, Tyler" userId="d95ade4d-0576-43d0-bb19-3f7a19f59750" providerId="ADAL" clId="{B1B93207-B0B2-4C9C-980C-0D6113ACFE50}" dt="2025-02-12T19:54:33.010" v="2466" actId="2085"/>
          <ac:spMkLst>
            <pc:docMk/>
            <pc:sldMk cId="3403764828" sldId="2147483647"/>
            <ac:spMk id="22" creationId="{7335010A-FAFB-2057-A823-CC1AB08F8561}"/>
          </ac:spMkLst>
        </pc:spChg>
        <pc:spChg chg="add mod">
          <ac:chgData name="Joseph, Tyler" userId="d95ade4d-0576-43d0-bb19-3f7a19f59750" providerId="ADAL" clId="{B1B93207-B0B2-4C9C-980C-0D6113ACFE50}" dt="2025-02-12T19:54:33.010" v="2466" actId="2085"/>
          <ac:spMkLst>
            <pc:docMk/>
            <pc:sldMk cId="3403764828" sldId="2147483647"/>
            <ac:spMk id="34" creationId="{31BA3E7A-0759-2604-E885-8E7F9FB4B35D}"/>
          </ac:spMkLst>
        </pc:spChg>
        <pc:grpChg chg="add mod">
          <ac:chgData name="Joseph, Tyler" userId="d95ade4d-0576-43d0-bb19-3f7a19f59750" providerId="ADAL" clId="{B1B93207-B0B2-4C9C-980C-0D6113ACFE50}" dt="2025-02-12T18:29:20.036" v="2405" actId="1076"/>
          <ac:grpSpMkLst>
            <pc:docMk/>
            <pc:sldMk cId="3403764828" sldId="2147483647"/>
            <ac:grpSpMk id="15" creationId="{BE0B64C2-D77E-26C9-78FC-81DB0F26B722}"/>
          </ac:grpSpMkLst>
        </pc:grpChg>
        <pc:graphicFrameChg chg="add mod ord modVis">
          <ac:chgData name="Joseph, Tyler" userId="d95ade4d-0576-43d0-bb19-3f7a19f59750" providerId="ADAL" clId="{B1B93207-B0B2-4C9C-980C-0D6113ACFE50}" dt="2025-02-13T16:47:14.642" v="2650"/>
          <ac:graphicFrameMkLst>
            <pc:docMk/>
            <pc:sldMk cId="3403764828" sldId="2147483647"/>
            <ac:graphicFrameMk id="11" creationId="{4B51663D-53BC-89A3-4FCF-9171A30BF148}"/>
          </ac:graphicFrameMkLst>
        </pc:graphicFrameChg>
        <pc:picChg chg="add del mod">
          <ac:chgData name="Joseph, Tyler" userId="d95ade4d-0576-43d0-bb19-3f7a19f59750" providerId="ADAL" clId="{B1B93207-B0B2-4C9C-980C-0D6113ACFE50}" dt="2025-02-12T18:19:06.530" v="1794" actId="478"/>
          <ac:picMkLst>
            <pc:docMk/>
            <pc:sldMk cId="3403764828" sldId="2147483647"/>
            <ac:picMk id="8" creationId="{500D0F6E-A620-B237-2B28-48DFD47E99F4}"/>
          </ac:picMkLst>
        </pc:picChg>
        <pc:picChg chg="add mod">
          <ac:chgData name="Joseph, Tyler" userId="d95ade4d-0576-43d0-bb19-3f7a19f59750" providerId="ADAL" clId="{B1B93207-B0B2-4C9C-980C-0D6113ACFE50}" dt="2025-02-12T18:28:25.223" v="2398" actId="1076"/>
          <ac:picMkLst>
            <pc:docMk/>
            <pc:sldMk cId="3403764828" sldId="2147483647"/>
            <ac:picMk id="9" creationId="{A6DF91B1-8765-D956-8630-EB4F983453DC}"/>
          </ac:picMkLst>
        </pc:picChg>
        <pc:cxnChg chg="add mod">
          <ac:chgData name="Joseph, Tyler" userId="d95ade4d-0576-43d0-bb19-3f7a19f59750" providerId="ADAL" clId="{B1B93207-B0B2-4C9C-980C-0D6113ACFE50}" dt="2025-02-12T19:55:21.990" v="2470" actId="1582"/>
          <ac:cxnSpMkLst>
            <pc:docMk/>
            <pc:sldMk cId="3403764828" sldId="2147483647"/>
            <ac:cxnSpMk id="20" creationId="{F3600BFA-0045-0843-2C48-E879A8BEDFCB}"/>
          </ac:cxnSpMkLst>
        </pc:cxnChg>
        <pc:cxnChg chg="add del mod">
          <ac:chgData name="Joseph, Tyler" userId="d95ade4d-0576-43d0-bb19-3f7a19f59750" providerId="ADAL" clId="{B1B93207-B0B2-4C9C-980C-0D6113ACFE50}" dt="2025-02-12T18:32:01.283" v="2412" actId="478"/>
          <ac:cxnSpMkLst>
            <pc:docMk/>
            <pc:sldMk cId="3403764828" sldId="2147483647"/>
            <ac:cxnSpMk id="24" creationId="{B5F29E85-4585-2ACE-3BCF-9BFD299038E5}"/>
          </ac:cxnSpMkLst>
        </pc:cxnChg>
        <pc:cxnChg chg="add mod">
          <ac:chgData name="Joseph, Tyler" userId="d95ade4d-0576-43d0-bb19-3f7a19f59750" providerId="ADAL" clId="{B1B93207-B0B2-4C9C-980C-0D6113ACFE50}" dt="2025-02-12T19:56:59.711" v="2533" actId="1038"/>
          <ac:cxnSpMkLst>
            <pc:docMk/>
            <pc:sldMk cId="3403764828" sldId="2147483647"/>
            <ac:cxnSpMk id="26" creationId="{54B22235-9D4C-A176-9358-6143A6D12355}"/>
          </ac:cxnSpMkLst>
        </pc:cxnChg>
        <pc:cxnChg chg="add mod">
          <ac:chgData name="Joseph, Tyler" userId="d95ade4d-0576-43d0-bb19-3f7a19f59750" providerId="ADAL" clId="{B1B93207-B0B2-4C9C-980C-0D6113ACFE50}" dt="2025-02-12T19:55:21.990" v="2470" actId="1582"/>
          <ac:cxnSpMkLst>
            <pc:docMk/>
            <pc:sldMk cId="3403764828" sldId="2147483647"/>
            <ac:cxnSpMk id="35" creationId="{4A9B81C8-382E-83A0-3A12-9B72C4EDA3D1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Arial" panose="020B0604020202020204" pitchFamily="34" charset="0"/>
              </a:rPr>
              <a:t>2/13/2025</a:t>
            </a:fld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Arial" panose="020B0604020202020204" pitchFamily="34" charset="0"/>
              </a:rPr>
              <a:t>‹#›</a:t>
            </a:fld>
            <a:endParaRPr lang="en-US" sz="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>
                <a:latin typeface="Arial" panose="020B0604020202020204" pitchFamily="34" charset="0"/>
              </a:rPr>
              <a:t>2/13/2025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0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9594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6B2E7D-3D94-4DB0-8311-00B35AC213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51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B87892-25AE-15F2-62C6-909B07CBC7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9850F77-A6DA-CE21-31E1-767E23F72A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DD5323-CB8D-07DE-9E0E-F4D416E28B6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698A2A-6C40-C315-0404-B2383A9A32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06E8C0-649C-4D38-90F5-9EBED4F6946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74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hemeOverride" Target="../theme/themeOverride2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6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7767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B84FA7B-BB3A-4400-8381-22397327358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9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ACDA7A5-734A-4440-865C-448E07B4B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098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CDA7A5-734A-4440-865C-448E07B4B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49299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58EC2D-857F-4211-8D7D-41AD1B9B8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048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8EC2D-857F-4211-8D7D-41AD1B9B84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602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78BA5F8-B7D0-42DA-A36E-E71424DED0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00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8BA5F8-B7D0-42DA-A36E-E71424DED0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325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FBA628A-55F1-429E-8ED9-3B7392AA4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40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BA628A-55F1-429E-8ED9-3B7392AA4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6686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187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091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82CD81A-F4A8-41C3-A748-46E26F397A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5830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2CD81A-F4A8-41C3-A748-46E26F397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570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E0F0817-3C69-441A-AC5E-EFB3B53A7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102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E0F0817-3C69-441A-AC5E-EFB3B53A7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5292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0D785F-4DFA-47EB-8CA6-4B6FDB9057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882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0D785F-4DFA-47EB-8CA6-4B6FDB905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4355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96B768F-1B9D-4E7F-AB5B-6D7F4C4ED6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658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6B768F-1B9D-4E7F-AB5B-6D7F4C4ED6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8947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54A443-EC10-4175-895D-C34ABC927E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3644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54A443-EC10-4175-895D-C34ABC927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69224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3D1F182-580F-4E5A-909A-F301DEF6C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369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D1F182-580F-4E5A-909A-F301DEF6C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1282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2910130-5364-4AA3-953F-13C86918F5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748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910130-5364-4AA3-953F-13C86918F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68549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E09DC58-AD39-47B0-AB3A-D769CAC32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78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09DC58-AD39-47B0-AB3A-D769CAC32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74145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52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30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8064C93-0A6F-40CA-9574-9E4003178C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126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064C93-0A6F-40CA-9574-9E4003178C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18530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53AACBD-5029-4945-A144-9F0E86D55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9898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AACBD-5029-4945-A144-9F0E86D55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71749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AA18A0-1F45-4E0E-9BA0-98F2950BD7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780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AA18A0-1F45-4E0E-9BA0-98F2950BD7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373487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567DD0B-23EE-4E57-81D2-CF60130294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66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67DD0B-23EE-4E57-81D2-CF6013029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980A72C-E960-47BC-AF0F-3925417CF1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0883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431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1CD4ED79-BA57-4033-89B7-80C384FDCAF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323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5264DAB-C821-4819-900D-BEB623B95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365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264DAB-C821-4819-900D-BEB623B95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8126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91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5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773ED30-80C5-469D-A022-E5823542CF9D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536181" y="5570643"/>
            <a:ext cx="1528693" cy="89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82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17CD1E-9836-4DC3-A2D6-76D6130A2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215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17CD1E-9836-4DC3-A2D6-76D6130A2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vert="horz"/>
          <a:lstStyle>
            <a:lvl1pPr>
              <a:defRPr sz="3400"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13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8E0D74F-4AD4-4D6B-89F0-588A99442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4109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E0D74F-4AD4-4D6B-89F0-588A99442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5105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CD0CC2-801F-4DD2-B2FD-072D742F51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406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CD0CC2-801F-4DD2-B2FD-072D742F51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1A5BA7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2081212"/>
            <a:ext cx="10934700" cy="407987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441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C64BCB2-E075-4877-A5A1-5C69582C8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202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64BCB2-E075-4877-A5A1-5C69582C8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2010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985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11282E4-C304-4F65-8964-B88953219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6034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1282E4-C304-4F65-8964-B88953219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50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7EEDCD-1BA1-4A95-A4B8-DBA4379A8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990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7EEDCD-1BA1-4A95-A4B8-DBA4379A8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9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7082E18-7BF0-4427-8A62-B93B98AB56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629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82E18-7BF0-4427-8A62-B93B98AB5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3797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E23520A-6BE4-438C-9093-419D575DD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2058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23520A-6BE4-438C-9093-419D575DD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4863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0809427-03CB-4ECA-8C54-F4A2919AB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788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809427-03CB-4ECA-8C54-F4A2919AB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376735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3B1E7F-5A58-4867-AC64-EAC294514F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530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3B1E7F-5A58-4867-AC64-EAC294514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226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93E522-D196-48C7-848D-C07840BB3B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940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93E522-D196-48C7-848D-C07840BB3B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23950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177BE46-38FE-4634-84BE-DA6B5C0822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89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77BE46-38FE-4634-84BE-DA6B5C0822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961511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4013BA7-1671-4489-BF20-6DF71E6A1B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96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013BA7-1671-4489-BF20-6DF71E6A1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4351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8409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136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481284-5BDC-458E-8CA0-4FC0716BF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66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481284-5BDC-458E-8CA0-4FC0716BF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481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FD7CFA-77A6-45DF-9CFF-73709C42F1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002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FD7CFA-77A6-45DF-9CFF-73709C42F1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3572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50A355E-39BE-4268-B8D3-B3630E8A94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382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A355E-39BE-4268-B8D3-B3630E8A9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7339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B82202B-6C40-444B-99F7-8C195574F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40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82202B-6C40-444B-99F7-8C195574F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3136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57E206-B6E1-4D22-9BF8-4FAC24A0A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90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57E206-B6E1-4D22-9BF8-4FAC24A0A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1A5B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996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F6BAF1-6D8D-4604-9D3A-F7259DE3F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64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F6BAF1-6D8D-4604-9D3A-F7259DE3F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8861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4038837-BD26-4E1F-9348-503D6CE197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99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38837-BD26-4E1F-9348-503D6CE19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1A5BA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4403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0B7405F-A5CC-4C5A-88C5-44E4443552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709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7405F-A5CC-4C5A-88C5-44E4443552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21925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AE667EF-7E6B-4EEF-8700-1CBA837881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4166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E667EF-7E6B-4EEF-8700-1CBA837881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00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96E83A-2433-4E68-9C43-00A3D3DAB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383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6E83A-2433-4E68-9C43-00A3D3DAB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1A5BA7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136547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D2E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1357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A5BA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49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2BB318E-EEEF-421B-B4B6-431A2B5BF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983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BB318E-EEEF-421B-B4B6-431A2B5BF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6601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DC3EAE9-D72D-4DBE-861A-EA1BA8EA67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68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C3EAE9-D72D-4DBE-861A-EA1BA8EA67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241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8D9C0E4-294D-4483-9FFB-27D58A4894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059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D9C0E4-294D-4483-9FFB-27D58A489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8688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E8FB14-A2EC-46B4-9540-921A65E2F8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99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8FB14-A2EC-46B4-9540-921A65E2F8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3257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4CCBA48-CB2E-406F-900E-28CA930D57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8349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CCBA48-CB2E-406F-900E-28CA930D5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9B611CD-2C50-42B9-BAED-13E0027D59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CC28EA9-0211-480F-8A0C-F7FF15710B14}"/>
              </a:ext>
            </a:extLst>
          </p:cNvPr>
          <p:cNvSpPr txBox="1">
            <a:spLocks/>
          </p:cNvSpPr>
          <p:nvPr userDrawn="1"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5FFB64-2090-40B3-A1D8-916569694D2D}"/>
              </a:ext>
            </a:extLst>
          </p:cNvPr>
          <p:cNvCxnSpPr/>
          <p:nvPr userDrawn="1"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83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6622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F3CE1EC0-8B8D-49B8-9569-8189D9E9217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78924" y="2362985"/>
            <a:ext cx="3634154" cy="213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4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823D3E8-DE9C-4133-B3C4-3BF4467A1D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344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96" progId="TCLayout.ActiveDocument.1">
                  <p:embed/>
                </p:oleObj>
              </mc:Choice>
              <mc:Fallback>
                <p:oleObj name="think-cell Slide" r:id="rId3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23D3E8-DE9C-4133-B3C4-3BF4467A1D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79637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554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795248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CF0CDD1-AA43-4B95-96AE-157AEDF56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5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F0CDD1-AA43-4B95-96AE-157AEDF56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3245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435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994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12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8094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800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0269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734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1A5BA7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rgbClr val="1A5BA7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1A5BA7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8225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492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1A5BA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9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36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1A5BA7"/>
                </a:solidFill>
                <a:latin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1A5BA7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48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62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3466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0282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35571D-5A9E-4EC5-9451-2934D26C337F}"/>
              </a:ext>
            </a:extLst>
          </p:cNvPr>
          <p:cNvSpPr txBox="1"/>
          <p:nvPr userDrawn="1"/>
        </p:nvSpPr>
        <p:spPr>
          <a:xfrm>
            <a:off x="630000" y="2548118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1A5BA7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1984403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DEF85E5-E4AB-42D5-9819-CCF0CD433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251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EF85E5-E4AB-42D5-9819-CCF0CD433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48967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0A7AEB6-FEC2-4F0E-99DE-C878DFED7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567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A7AEB6-FEC2-4F0E-99DE-C878DFED7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1A5BA7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9458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1A5B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2FDB510-EF43-4247-8261-00FBB5410C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973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96" progId="TCLayout.ActiveDocument.1">
                  <p:embed/>
                </p:oleObj>
              </mc:Choice>
              <mc:Fallback>
                <p:oleObj name="think-cell Slide" r:id="rId4" imgW="389" imgH="39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FDB510-EF43-4247-8261-00FBB5410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4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721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80425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2081212"/>
            <a:ext cx="10934700" cy="4079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875570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1A5BA7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649224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kern="120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1A5BA7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320040" indent="-219456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1A5BA7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1A5BA7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1A5BA7"/>
        </a:buClr>
        <a:buFont typeface="Arial" panose="020B0604020202020204" pitchFamily="34" charset="0"/>
        <a:buChar char="​"/>
        <a:defRPr lang="en-US" sz="2400" kern="1200" baseline="0" dirty="0">
          <a:solidFill>
            <a:srgbClr val="1A5BA7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70.bin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9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79.xml"/><Relationship Id="rId7" Type="http://schemas.openxmlformats.org/officeDocument/2006/relationships/image" Target="../media/image12.emf"/><Relationship Id="rId2" Type="http://schemas.openxmlformats.org/officeDocument/2006/relationships/tags" Target="../tags/tag78.xml"/><Relationship Id="rId1" Type="http://schemas.openxmlformats.org/officeDocument/2006/relationships/customXml" Target="../../customXml/item4.x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7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80.xml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75.bin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3.xml"/><Relationship Id="rId5" Type="http://schemas.openxmlformats.org/officeDocument/2006/relationships/image" Target="../media/image14.png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3673E9-A138-4CD1-AA06-8E5F318A8E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9" imgH="396" progId="TCLayout.ActiveDocument.1">
                  <p:embed/>
                </p:oleObj>
              </mc:Choice>
              <mc:Fallback>
                <p:oleObj name="think-cell Slide" r:id="rId5" imgW="389" imgH="39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3673E9-A138-4CD1-AA06-8E5F318A8E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720A33-A5FA-4CAB-BD6E-99A125F8663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riday, February 14, 2025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9C1DC923-2309-431F-B6F5-213D3AC361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frastructure Roundtable - Technical Assistanc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755B69-E715-4728-B9D3-C4640AA1A2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415" y="1886242"/>
            <a:ext cx="9366498" cy="3138423"/>
          </a:xfrm>
        </p:spPr>
        <p:txBody>
          <a:bodyPr vert="horz"/>
          <a:lstStyle/>
          <a:p>
            <a:r>
              <a:rPr lang="en-US" dirty="0"/>
              <a:t>The Arkansas </a:t>
            </a:r>
            <a:br>
              <a:rPr lang="en-US" dirty="0"/>
            </a:br>
            <a:r>
              <a:rPr lang="en-US" dirty="0"/>
              <a:t>BEAD Program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5AEBCBC-A0E7-EED4-72C9-875365A74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100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9" imgH="396" progId="TCLayout.ActiveDocument.1">
                  <p:embed/>
                </p:oleObj>
              </mc:Choice>
              <mc:Fallback>
                <p:oleObj name="think-cell Slide" r:id="rId7" imgW="389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AEBCBC-A0E7-EED4-72C9-875365A74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161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D243604-B312-99D4-BC2E-B5CCB1A96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07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84" imgH="486" progId="TCLayout.ActiveDocument.1">
                  <p:embed/>
                </p:oleObj>
              </mc:Choice>
              <mc:Fallback>
                <p:oleObj name="think-cell Slide" r:id="rId6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243604-B312-99D4-BC2E-B5CCB1A96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52F89B12-6263-6583-0929-B5BAB6F1437D}"/>
              </a:ext>
            </a:extLst>
          </p:cNvPr>
          <p:cNvSpPr/>
          <p:nvPr/>
        </p:nvSpPr>
        <p:spPr>
          <a:xfrm flipH="1">
            <a:off x="630000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93E7B681-758F-986C-A50F-9BA3D5EA6296}"/>
              </a:ext>
            </a:extLst>
          </p:cNvPr>
          <p:cNvSpPr/>
          <p:nvPr/>
        </p:nvSpPr>
        <p:spPr>
          <a:xfrm>
            <a:off x="5320609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937151A9-2E7D-F14C-907D-261969792A97}"/>
              </a:ext>
            </a:extLst>
          </p:cNvPr>
          <p:cNvSpPr/>
          <p:nvPr/>
        </p:nvSpPr>
        <p:spPr>
          <a:xfrm>
            <a:off x="11416412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BB787C7B-1503-56B6-00E5-14179528D621}"/>
              </a:ext>
            </a:extLst>
          </p:cNvPr>
          <p:cNvSpPr/>
          <p:nvPr/>
        </p:nvSpPr>
        <p:spPr>
          <a:xfrm flipH="1">
            <a:off x="5872899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574988-920F-4596-CAAF-E6A026A6B9E5}"/>
              </a:ext>
            </a:extLst>
          </p:cNvPr>
          <p:cNvSpPr txBox="1"/>
          <p:nvPr/>
        </p:nvSpPr>
        <p:spPr>
          <a:xfrm>
            <a:off x="766970" y="1646209"/>
            <a:ext cx="4563608" cy="375829"/>
          </a:xfrm>
          <a:prstGeom prst="round2SameRect">
            <a:avLst>
              <a:gd name="adj1" fmla="val 17031"/>
              <a:gd name="adj2" fmla="val 0"/>
            </a:avLst>
          </a:prstGeom>
          <a:solidFill>
            <a:schemeClr val="tx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rgbClr val="FFFFFF"/>
                </a:solidFill>
              </a:rPr>
              <a:t>Map of Tranche-1 Resul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DF19559-78A0-AB8B-89BC-ACBD6F498E99}"/>
              </a:ext>
            </a:extLst>
          </p:cNvPr>
          <p:cNvSpPr txBox="1"/>
          <p:nvPr/>
        </p:nvSpPr>
        <p:spPr>
          <a:xfrm flipV="1">
            <a:off x="754666" y="2235663"/>
            <a:ext cx="4588216" cy="3777397"/>
          </a:xfrm>
          <a:prstGeom prst="round2SameRect">
            <a:avLst>
              <a:gd name="adj1" fmla="val 1666"/>
              <a:gd name="adj2" fmla="val 0"/>
            </a:avLst>
          </a:prstGeom>
          <a:solidFill>
            <a:schemeClr val="tx2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2410B2A-F5FB-06CB-78E5-0CBAE3D6CC9D}"/>
              </a:ext>
            </a:extLst>
          </p:cNvPr>
          <p:cNvSpPr txBox="1"/>
          <p:nvPr/>
        </p:nvSpPr>
        <p:spPr>
          <a:xfrm flipV="1">
            <a:off x="630001" y="2022036"/>
            <a:ext cx="4837546" cy="3953320"/>
          </a:xfrm>
          <a:prstGeom prst="round2SameRect">
            <a:avLst>
              <a:gd name="adj1" fmla="val 1666"/>
              <a:gd name="adj2" fmla="val 0"/>
            </a:avLst>
          </a:prstGeom>
          <a:solidFill>
            <a:srgbClr val="FFFFFF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1B2AEA-0046-C91F-C34B-FBFC951F636C}"/>
              </a:ext>
            </a:extLst>
          </p:cNvPr>
          <p:cNvSpPr txBox="1"/>
          <p:nvPr/>
        </p:nvSpPr>
        <p:spPr>
          <a:xfrm flipV="1">
            <a:off x="6082407" y="2235663"/>
            <a:ext cx="5271438" cy="3777397"/>
          </a:xfrm>
          <a:prstGeom prst="round2SameRect">
            <a:avLst>
              <a:gd name="adj1" fmla="val 1680"/>
              <a:gd name="adj2" fmla="val 0"/>
            </a:avLst>
          </a:prstGeom>
          <a:solidFill>
            <a:schemeClr val="tx2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351C80-930F-F8B6-A3EA-B2F7B5CD6F88}"/>
              </a:ext>
            </a:extLst>
          </p:cNvPr>
          <p:cNvSpPr txBox="1"/>
          <p:nvPr/>
        </p:nvSpPr>
        <p:spPr>
          <a:xfrm flipV="1">
            <a:off x="5872899" y="2022036"/>
            <a:ext cx="5690452" cy="3953320"/>
          </a:xfrm>
          <a:prstGeom prst="round2SameRect">
            <a:avLst>
              <a:gd name="adj1" fmla="val 1708"/>
              <a:gd name="adj2" fmla="val 0"/>
            </a:avLst>
          </a:prstGeom>
          <a:solidFill>
            <a:srgbClr val="FFFFFF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4D1995-20D6-7908-A5CB-29F20716F2F6}"/>
              </a:ext>
            </a:extLst>
          </p:cNvPr>
          <p:cNvSpPr txBox="1"/>
          <p:nvPr/>
        </p:nvSpPr>
        <p:spPr>
          <a:xfrm>
            <a:off x="6014583" y="1646209"/>
            <a:ext cx="5407085" cy="375829"/>
          </a:xfrm>
          <a:prstGeom prst="round2SameRect">
            <a:avLst>
              <a:gd name="adj1" fmla="val 17031"/>
              <a:gd name="adj2" fmla="val 0"/>
            </a:avLst>
          </a:prstGeom>
          <a:solidFill>
            <a:schemeClr val="tx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FFFFFF"/>
                </a:solidFill>
              </a:rPr>
              <a:t>CBG statuses after Tranche-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404FFE-062A-D2A1-3C87-83DC74BE03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22300"/>
            <a:ext cx="10933112" cy="664797"/>
          </a:xfrm>
        </p:spPr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Recall |</a:t>
            </a:r>
            <a:r>
              <a:rPr lang="en-US" dirty="0"/>
              <a:t> Once in the applicant portal, applicants will be able to see a map displaying each </a:t>
            </a:r>
            <a:r>
              <a:rPr lang="en-US" dirty="0" err="1"/>
              <a:t>CBG's</a:t>
            </a:r>
            <a:r>
              <a:rPr lang="en-US" dirty="0"/>
              <a:t> availability as a result of Tranche-1 adjudic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65E7D52-5A4F-F118-D845-5FAA9982F2D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7875" y="2129234"/>
            <a:ext cx="4249170" cy="3588092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A4AD0863-8733-E755-20F2-21B88CAC49BF}"/>
              </a:ext>
            </a:extLst>
          </p:cNvPr>
          <p:cNvSpPr txBox="1"/>
          <p:nvPr/>
        </p:nvSpPr>
        <p:spPr>
          <a:xfrm>
            <a:off x="6023728" y="4042480"/>
            <a:ext cx="5420632" cy="9848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vailable</a:t>
            </a:r>
          </a:p>
          <a:p>
            <a:pPr marL="648970" lvl="2" indent="-219075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dirty="0" err="1">
                <a:solidFill>
                  <a:srgbClr val="000000"/>
                </a:solidFill>
                <a:ea typeface="+mn-lt"/>
                <a:cs typeface="+mn-lt"/>
              </a:rPr>
              <a:t>CBGs</a:t>
            </a:r>
            <a:r>
              <a:rPr lang="en-US" sz="1600" dirty="0">
                <a:solidFill>
                  <a:srgbClr val="000000"/>
                </a:solidFill>
                <a:ea typeface="+mn-lt"/>
                <a:cs typeface="+mn-lt"/>
              </a:rPr>
              <a:t> that received bids in Tranche-1, but no winner was determined. These </a:t>
            </a:r>
            <a:r>
              <a:rPr lang="en-US" sz="1600" dirty="0" err="1">
                <a:solidFill>
                  <a:srgbClr val="000000"/>
                </a:solidFill>
                <a:ea typeface="+mn-lt"/>
                <a:cs typeface="+mn-lt"/>
              </a:rPr>
              <a:t>CBGs</a:t>
            </a:r>
            <a:r>
              <a:rPr lang="en-US" sz="1600" dirty="0">
                <a:solidFill>
                  <a:srgbClr val="000000"/>
                </a:solidFill>
                <a:ea typeface="+mn-lt"/>
                <a:cs typeface="+mn-lt"/>
              </a:rPr>
              <a:t> must follow contiguity rules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04EF4C1B-8C82-F165-F764-DE6D29AC32B4}"/>
              </a:ext>
            </a:extLst>
          </p:cNvPr>
          <p:cNvSpPr/>
          <p:nvPr/>
        </p:nvSpPr>
        <p:spPr>
          <a:xfrm>
            <a:off x="5991279" y="4055625"/>
            <a:ext cx="233079" cy="145326"/>
          </a:xfrm>
          <a:prstGeom prst="roundRect">
            <a:avLst/>
          </a:prstGeom>
          <a:solidFill>
            <a:srgbClr val="79C422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1AA63A3-5C4B-62E0-EF3E-BFA4372327E7}"/>
              </a:ext>
            </a:extLst>
          </p:cNvPr>
          <p:cNvSpPr txBox="1"/>
          <p:nvPr/>
        </p:nvSpPr>
        <p:spPr>
          <a:xfrm>
            <a:off x="6023728" y="5134757"/>
            <a:ext cx="5420632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eligible</a:t>
            </a:r>
          </a:p>
          <a:p>
            <a:pPr marL="649224" lvl="2" indent="-219456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dirty="0" err="1">
                <a:solidFill>
                  <a:srgbClr val="000000"/>
                </a:solidFill>
              </a:rPr>
              <a:t>CBGs</a:t>
            </a:r>
            <a:r>
              <a:rPr lang="en-US" sz="1600" dirty="0">
                <a:solidFill>
                  <a:srgbClr val="000000"/>
                </a:solidFill>
              </a:rPr>
              <a:t> that contain 100% served locations and are unavailable for bidding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DF5DB4D3-FD3E-961A-9F41-653C068A2102}"/>
              </a:ext>
            </a:extLst>
          </p:cNvPr>
          <p:cNvSpPr/>
          <p:nvPr/>
        </p:nvSpPr>
        <p:spPr>
          <a:xfrm>
            <a:off x="6020526" y="5182382"/>
            <a:ext cx="233079" cy="145326"/>
          </a:xfrm>
          <a:prstGeom prst="roundRect">
            <a:avLst/>
          </a:prstGeom>
          <a:solidFill>
            <a:srgbClr val="A0ABBB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9492A3D-F03E-4C0F-3A3E-A2CC76DF8901}"/>
              </a:ext>
            </a:extLst>
          </p:cNvPr>
          <p:cNvSpPr txBox="1"/>
          <p:nvPr/>
        </p:nvSpPr>
        <p:spPr>
          <a:xfrm>
            <a:off x="6023728" y="2950203"/>
            <a:ext cx="5420632" cy="98488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vailable Zero Bid</a:t>
            </a:r>
          </a:p>
          <a:p>
            <a:pPr marL="648970" lvl="2" indent="-219075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dirty="0">
                <a:solidFill>
                  <a:srgbClr val="000000"/>
                </a:solidFill>
              </a:rPr>
              <a:t>Applicants will be allowed to add these areas to Carried Forward or new bids for additional points. These </a:t>
            </a:r>
            <a:r>
              <a:rPr lang="en-US" sz="1600" dirty="0" err="1">
                <a:solidFill>
                  <a:srgbClr val="000000"/>
                </a:solidFill>
              </a:rPr>
              <a:t>CBGs</a:t>
            </a:r>
            <a:r>
              <a:rPr lang="en-US" sz="1600" dirty="0">
                <a:solidFill>
                  <a:srgbClr val="000000"/>
                </a:solidFill>
              </a:rPr>
              <a:t> do not need to follow contiguity rules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1240339D-17D3-C64E-86D9-C8910CF049A4}"/>
              </a:ext>
            </a:extLst>
          </p:cNvPr>
          <p:cNvSpPr/>
          <p:nvPr/>
        </p:nvSpPr>
        <p:spPr>
          <a:xfrm>
            <a:off x="5999690" y="3024075"/>
            <a:ext cx="233079" cy="145326"/>
          </a:xfrm>
          <a:prstGeom prst="roundRect">
            <a:avLst/>
          </a:prstGeom>
          <a:solidFill>
            <a:srgbClr val="3E89ED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C11905B-A9A6-0CCA-B46C-F529695794F6}"/>
              </a:ext>
            </a:extLst>
          </p:cNvPr>
          <p:cNvSpPr txBox="1"/>
          <p:nvPr/>
        </p:nvSpPr>
        <p:spPr>
          <a:xfrm>
            <a:off x="6023728" y="2104147"/>
            <a:ext cx="5420632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20040" lvl="1" indent="-219456">
              <a:buClr>
                <a:srgbClr val="1A5BA7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sym typeface="Trebuchet MS" panose="020B0603020202020204" pitchFamily="34" charset="0"/>
              </a:rPr>
              <a:t>Preliminarily Selected (unavailable)</a:t>
            </a:r>
          </a:p>
          <a:p>
            <a:pPr marL="649224" lvl="2" indent="-219456">
              <a:buClr>
                <a:srgbClr val="1A5BA7"/>
              </a:buClr>
              <a:buFont typeface="Arial" panose="020B0604020202020204" pitchFamily="34" charset="0"/>
              <a:buChar char="–"/>
            </a:pPr>
            <a:r>
              <a:rPr lang="en-US" sz="1600" dirty="0" err="1">
                <a:solidFill>
                  <a:srgbClr val="000000"/>
                </a:solidFill>
                <a:sym typeface="Trebuchet MS" panose="020B0603020202020204" pitchFamily="34" charset="0"/>
              </a:rPr>
              <a:t>CBGs</a:t>
            </a:r>
            <a:r>
              <a:rPr lang="en-US" sz="1600" dirty="0">
                <a:solidFill>
                  <a:srgbClr val="000000"/>
                </a:solidFill>
                <a:sym typeface="Trebuchet MS" panose="020B0603020202020204" pitchFamily="34" charset="0"/>
              </a:rPr>
              <a:t> that were preliminarily selected in Tranche-1 and are no longer available for bidding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468FE0A4-85B1-59E1-059B-71D278FC6A24}"/>
              </a:ext>
            </a:extLst>
          </p:cNvPr>
          <p:cNvSpPr/>
          <p:nvPr/>
        </p:nvSpPr>
        <p:spPr>
          <a:xfrm>
            <a:off x="6016620" y="2151772"/>
            <a:ext cx="233079" cy="145326"/>
          </a:xfrm>
          <a:prstGeom prst="roundRect">
            <a:avLst/>
          </a:prstGeom>
          <a:solidFill>
            <a:srgbClr val="FB0278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73B84FE6-6A4D-14B6-B4F7-C71D3FDEB044}"/>
              </a:ext>
            </a:extLst>
          </p:cNvPr>
          <p:cNvSpPr txBox="1"/>
          <p:nvPr/>
        </p:nvSpPr>
        <p:spPr>
          <a:xfrm>
            <a:off x="3064555" y="6230811"/>
            <a:ext cx="1707301" cy="1846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 panose="020B0604020202020204" pitchFamily="34" charset="0"/>
              </a:rPr>
              <a:t>Preliminarily Selecte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C91855C-1958-D6E2-BF94-C9E4FEA1AD3F}"/>
              </a:ext>
            </a:extLst>
          </p:cNvPr>
          <p:cNvSpPr txBox="1"/>
          <p:nvPr/>
        </p:nvSpPr>
        <p:spPr>
          <a:xfrm>
            <a:off x="5061520" y="6230811"/>
            <a:ext cx="1231556" cy="1846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20101"/>
                </a:solidFill>
                <a:latin typeface="Arial"/>
                <a:cs typeface="Arial"/>
              </a:rPr>
              <a:t>Available Zero-bid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850511A1-084D-9AB2-9F2E-84A19EEDA77F}"/>
              </a:ext>
            </a:extLst>
          </p:cNvPr>
          <p:cNvSpPr txBox="1"/>
          <p:nvPr/>
        </p:nvSpPr>
        <p:spPr>
          <a:xfrm>
            <a:off x="6850266" y="6230811"/>
            <a:ext cx="660887" cy="1846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solidFill>
                  <a:srgbClr val="020101"/>
                </a:solidFill>
                <a:latin typeface="Arial"/>
                <a:cs typeface="Arial"/>
                <a:sym typeface="Arial" panose="020B0604020202020204" pitchFamily="34" charset="0"/>
              </a:rPr>
              <a:t>Available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585E7DE9-D227-FEA0-9816-290D715B3482}"/>
              </a:ext>
            </a:extLst>
          </p:cNvPr>
          <p:cNvSpPr txBox="1"/>
          <p:nvPr/>
        </p:nvSpPr>
        <p:spPr>
          <a:xfrm>
            <a:off x="8011193" y="6230811"/>
            <a:ext cx="602729" cy="1846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20101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 panose="020B0604020202020204" pitchFamily="34" charset="0"/>
              </a:rPr>
              <a:t>Ineligibl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2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5841DE18-C82F-C8EB-ACAC-3833A6E93A8B}"/>
              </a:ext>
            </a:extLst>
          </p:cNvPr>
          <p:cNvSpPr/>
          <p:nvPr/>
        </p:nvSpPr>
        <p:spPr>
          <a:xfrm>
            <a:off x="2768453" y="6250480"/>
            <a:ext cx="233079" cy="145326"/>
          </a:xfrm>
          <a:prstGeom prst="roundRect">
            <a:avLst/>
          </a:prstGeom>
          <a:solidFill>
            <a:srgbClr val="FB0278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6807B8C7-31B8-B586-CA34-A7BB21DEB913}"/>
              </a:ext>
            </a:extLst>
          </p:cNvPr>
          <p:cNvSpPr/>
          <p:nvPr/>
        </p:nvSpPr>
        <p:spPr>
          <a:xfrm>
            <a:off x="6554164" y="6250480"/>
            <a:ext cx="233079" cy="145326"/>
          </a:xfrm>
          <a:prstGeom prst="roundRect">
            <a:avLst/>
          </a:prstGeom>
          <a:solidFill>
            <a:srgbClr val="79C422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2851AEB5-B01D-B29F-260C-E5152CF5F140}"/>
              </a:ext>
            </a:extLst>
          </p:cNvPr>
          <p:cNvSpPr/>
          <p:nvPr/>
        </p:nvSpPr>
        <p:spPr>
          <a:xfrm>
            <a:off x="4765418" y="6250480"/>
            <a:ext cx="233079" cy="145326"/>
          </a:xfrm>
          <a:prstGeom prst="roundRect">
            <a:avLst/>
          </a:prstGeom>
          <a:solidFill>
            <a:srgbClr val="3E89ED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B6090313-BD01-EA69-233C-9A8370E592BC}"/>
              </a:ext>
            </a:extLst>
          </p:cNvPr>
          <p:cNvSpPr/>
          <p:nvPr/>
        </p:nvSpPr>
        <p:spPr>
          <a:xfrm>
            <a:off x="7715091" y="6250480"/>
            <a:ext cx="233079" cy="145326"/>
          </a:xfrm>
          <a:prstGeom prst="roundRect">
            <a:avLst/>
          </a:prstGeom>
          <a:solidFill>
            <a:srgbClr val="A0ABBB"/>
          </a:solidFill>
          <a:ln w="63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Rectangle: Rounded Corners 138">
            <a:extLst>
              <a:ext uri="{FF2B5EF4-FFF2-40B4-BE49-F238E27FC236}">
                <a16:creationId xmlns:a16="http://schemas.microsoft.com/office/drawing/2014/main" id="{5FC4C48B-DC81-1CAA-A2EC-9B034A5D1936}"/>
              </a:ext>
            </a:extLst>
          </p:cNvPr>
          <p:cNvSpPr/>
          <p:nvPr/>
        </p:nvSpPr>
        <p:spPr>
          <a:xfrm>
            <a:off x="2647949" y="6188981"/>
            <a:ext cx="6084315" cy="255071"/>
          </a:xfrm>
          <a:prstGeom prst="roundRect">
            <a:avLst/>
          </a:prstGeom>
          <a:noFill/>
          <a:ln w="9525" cap="rnd" cmpd="sng" algn="ctr">
            <a:solidFill>
              <a:srgbClr val="1A5BA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3C7771C-183D-87F1-DE4F-85510721A58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7699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89" imgH="396" progId="TCLayout.ActiveDocument.1">
                  <p:embed/>
                </p:oleObj>
              </mc:Choice>
              <mc:Fallback>
                <p:oleObj name="think-cell Slide" r:id="rId9" imgW="389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C7771C-183D-87F1-DE4F-85510721A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custData r:id="rId1"/>
    </p:custDataLst>
    <p:extLst>
      <p:ext uri="{BB962C8B-B14F-4D97-AF65-F5344CB8AC3E}">
        <p14:creationId xmlns:p14="http://schemas.microsoft.com/office/powerpoint/2010/main" val="272978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938888C-EFB3-CD59-93BE-6F59001C9D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55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938888C-EFB3-CD59-93BE-6F59001C9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722093-048E-856F-1695-93883874AB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accent3"/>
                </a:solidFill>
              </a:rPr>
              <a:t>Recall |</a:t>
            </a:r>
            <a:r>
              <a:rPr lang="en-US" dirty="0">
                <a:solidFill>
                  <a:schemeClr val="tx1"/>
                </a:solidFill>
              </a:rPr>
              <a:t>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 </a:t>
            </a:r>
            <a:r>
              <a:rPr lang="en-US" dirty="0" err="1">
                <a:solidFill>
                  <a:schemeClr val="bg1"/>
                </a:solidFill>
              </a:rPr>
              <a:t>CBG</a:t>
            </a:r>
            <a:r>
              <a:rPr lang="en-US" dirty="0">
                <a:solidFill>
                  <a:schemeClr val="bg1"/>
                </a:solidFill>
              </a:rPr>
              <a:t> can be classified as a Zero Bid </a:t>
            </a:r>
            <a:r>
              <a:rPr lang="en-US" dirty="0" err="1">
                <a:solidFill>
                  <a:schemeClr val="bg1"/>
                </a:solidFill>
              </a:rPr>
              <a:t>CBG</a:t>
            </a:r>
            <a:r>
              <a:rPr lang="en-US" dirty="0">
                <a:solidFill>
                  <a:schemeClr val="bg1"/>
                </a:solidFill>
              </a:rPr>
              <a:t> in three different ways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A1E84FA8-9855-4ECE-45F3-B7710408F9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89901"/>
              </p:ext>
            </p:extLst>
          </p:nvPr>
        </p:nvGraphicFramePr>
        <p:xfrm>
          <a:off x="4217158" y="1912598"/>
          <a:ext cx="7344842" cy="3017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09897">
                  <a:extLst>
                    <a:ext uri="{9D8B030D-6E8A-4147-A177-3AD203B41FA5}">
                      <a16:colId xmlns:a16="http://schemas.microsoft.com/office/drawing/2014/main" val="1595278481"/>
                    </a:ext>
                  </a:extLst>
                </a:gridCol>
                <a:gridCol w="6334945">
                  <a:extLst>
                    <a:ext uri="{9D8B030D-6E8A-4147-A177-3AD203B41FA5}">
                      <a16:colId xmlns:a16="http://schemas.microsoft.com/office/drawing/2014/main" val="3600590071"/>
                    </a:ext>
                  </a:extLst>
                </a:gridCol>
              </a:tblGrid>
              <a:tr h="1005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45720" marR="4572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2"/>
                          </a:solidFill>
                        </a:rPr>
                        <a:t>True zero bi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hese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were not included in any Tranche-1 applications</a:t>
                      </a:r>
                    </a:p>
                  </a:txBody>
                  <a:tcPr marL="0" marR="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2426616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2"/>
                          </a:solidFill>
                        </a:rPr>
                        <a:t>Competitive closed bid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hese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belong to competitive bids that partially overlapped with a Buy It Now bid, and therefore were closed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0894273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45720" marR="4572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2"/>
                          </a:solidFill>
                        </a:rPr>
                        <a:t>Non-competitive carried forward bid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hese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</a:rPr>
                        <a:t>CBG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belong to carried forward bids that did not overlap with any other applications, but did not meet Buy It Now criteria 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4361763"/>
                  </a:ext>
                </a:extLst>
              </a:tr>
            </a:tbl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1361ABB8-516B-FBFB-90DB-D24CAC305001}"/>
              </a:ext>
            </a:extLst>
          </p:cNvPr>
          <p:cNvGrpSpPr/>
          <p:nvPr/>
        </p:nvGrpSpPr>
        <p:grpSpPr>
          <a:xfrm>
            <a:off x="4217158" y="5151668"/>
            <a:ext cx="7344842" cy="550796"/>
            <a:chOff x="754666" y="6458287"/>
            <a:chExt cx="7733264" cy="416285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024137D-5557-5319-86C5-BA0A0C3463BB}"/>
                </a:ext>
              </a:extLst>
            </p:cNvPr>
            <p:cNvSpPr/>
            <p:nvPr/>
          </p:nvSpPr>
          <p:spPr>
            <a:xfrm>
              <a:off x="796250" y="6506698"/>
              <a:ext cx="7691680" cy="367874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lvl="0">
                <a:defRPr/>
              </a:pPr>
              <a:endParaRPr lang="en-US" sz="1600" kern="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3CAC7EA-F6F2-191E-F557-AD2E4FE8A0DE}"/>
                </a:ext>
              </a:extLst>
            </p:cNvPr>
            <p:cNvSpPr/>
            <p:nvPr/>
          </p:nvSpPr>
          <p:spPr>
            <a:xfrm>
              <a:off x="754666" y="6458287"/>
              <a:ext cx="7691680" cy="367873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rtlCol="0" anchor="ctr" anchorCtr="0">
              <a:noAutofit/>
            </a:bodyPr>
            <a:lstStyle/>
            <a:p>
              <a:pPr>
                <a:defRPr/>
              </a:pPr>
              <a:r>
                <a:rPr lang="en-US" sz="1400" b="1" dirty="0">
                  <a:solidFill>
                    <a:schemeClr val="tx2"/>
                  </a:solidFill>
                  <a:latin typeface="+mj-lt"/>
                </a:rPr>
                <a:t>Note |</a:t>
              </a:r>
              <a:r>
                <a:rPr lang="en-US" sz="1400" dirty="0">
                  <a:latin typeface="+mj-lt"/>
                </a:rPr>
                <a:t> This means it is possible for a </a:t>
              </a:r>
              <a:r>
                <a:rPr lang="en-US" sz="1400" dirty="0" err="1">
                  <a:latin typeface="+mj-lt"/>
                </a:rPr>
                <a:t>CBG</a:t>
              </a:r>
              <a:r>
                <a:rPr lang="en-US" sz="1400" dirty="0">
                  <a:latin typeface="+mj-lt"/>
                </a:rPr>
                <a:t> included in your applications(s) to be classified as an "Available Zero Bid"</a:t>
              </a:r>
            </a:p>
          </p:txBody>
        </p:sp>
      </p:grpSp>
      <p:sp>
        <p:nvSpPr>
          <p:cNvPr id="35" name="Oval 20">
            <a:extLst>
              <a:ext uri="{FF2B5EF4-FFF2-40B4-BE49-F238E27FC236}">
                <a16:creationId xmlns:a16="http://schemas.microsoft.com/office/drawing/2014/main" id="{D35ECAC5-D0FA-3AAD-8085-CF60A57CDD9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08220" y="4213311"/>
            <a:ext cx="427775" cy="427775"/>
          </a:xfrm>
          <a:prstGeom prst="ellipse">
            <a:avLst/>
          </a:prstGeom>
          <a:solidFill>
            <a:srgbClr val="1A5BA7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  <p:sp>
        <p:nvSpPr>
          <p:cNvPr id="37" name="Oval 20">
            <a:extLst>
              <a:ext uri="{FF2B5EF4-FFF2-40B4-BE49-F238E27FC236}">
                <a16:creationId xmlns:a16="http://schemas.microsoft.com/office/drawing/2014/main" id="{D915F0EF-9C59-0471-5255-ABEE2DD3F5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08220" y="3207471"/>
            <a:ext cx="427775" cy="427775"/>
          </a:xfrm>
          <a:prstGeom prst="ellipse">
            <a:avLst/>
          </a:prstGeom>
          <a:solidFill>
            <a:srgbClr val="1A5BA7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39" name="Oval 20">
            <a:extLst>
              <a:ext uri="{FF2B5EF4-FFF2-40B4-BE49-F238E27FC236}">
                <a16:creationId xmlns:a16="http://schemas.microsoft.com/office/drawing/2014/main" id="{38D60232-C0E6-A39C-C09E-2F0C7C8E94A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08220" y="2201631"/>
            <a:ext cx="427775" cy="427775"/>
          </a:xfrm>
          <a:prstGeom prst="ellipse">
            <a:avLst/>
          </a:prstGeom>
          <a:solidFill>
            <a:srgbClr val="1A5BA7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908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F5C257-E7B6-6402-8D1B-563C08CE8C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11EB391-8DD3-E8FA-54AE-A452029FF6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84" imgH="486" progId="TCLayout.ActiveDocument.1">
                  <p:embed/>
                </p:oleObj>
              </mc:Choice>
              <mc:Fallback>
                <p:oleObj name="think-cell Slide" r:id="rId5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11EB391-8DD3-E8FA-54AE-A452029FF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Table 25">
            <a:extLst>
              <a:ext uri="{FF2B5EF4-FFF2-40B4-BE49-F238E27FC236}">
                <a16:creationId xmlns:a16="http://schemas.microsoft.com/office/drawing/2014/main" id="{DEA77936-3146-215B-BA1B-0E81F1140F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3828823"/>
              </p:ext>
            </p:extLst>
          </p:nvPr>
        </p:nvGraphicFramePr>
        <p:xfrm>
          <a:off x="630000" y="1957041"/>
          <a:ext cx="10792765" cy="32123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08568">
                  <a:extLst>
                    <a:ext uri="{9D8B030D-6E8A-4147-A177-3AD203B41FA5}">
                      <a16:colId xmlns:a16="http://schemas.microsoft.com/office/drawing/2014/main" val="1391984712"/>
                    </a:ext>
                  </a:extLst>
                </a:gridCol>
                <a:gridCol w="4370191">
                  <a:extLst>
                    <a:ext uri="{9D8B030D-6E8A-4147-A177-3AD203B41FA5}">
                      <a16:colId xmlns:a16="http://schemas.microsoft.com/office/drawing/2014/main" val="2754293648"/>
                    </a:ext>
                  </a:extLst>
                </a:gridCol>
                <a:gridCol w="1940113">
                  <a:extLst>
                    <a:ext uri="{9D8B030D-6E8A-4147-A177-3AD203B41FA5}">
                      <a16:colId xmlns:a16="http://schemas.microsoft.com/office/drawing/2014/main" val="317088830"/>
                    </a:ext>
                  </a:extLst>
                </a:gridCol>
                <a:gridCol w="1973893">
                  <a:extLst>
                    <a:ext uri="{9D8B030D-6E8A-4147-A177-3AD203B41FA5}">
                      <a16:colId xmlns:a16="http://schemas.microsoft.com/office/drawing/2014/main" val="2673416511"/>
                    </a:ext>
                  </a:extLst>
                </a:gridCol>
              </a:tblGrid>
              <a:tr h="312753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Zero Bid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BG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Category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Description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Ref Price Multip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mpacted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BGs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A5B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334576"/>
                  </a:ext>
                </a:extLst>
              </a:tr>
              <a:tr h="499592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0 bi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BGs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that received no bids in Tranche-1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x</a:t>
                      </a:r>
                    </a:p>
                  </a:txBody>
                  <a:tcPr marL="7620" marR="7620" marT="762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66</a:t>
                      </a:r>
                    </a:p>
                  </a:txBody>
                  <a:tcPr marL="7620" marR="7620" marT="76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290359"/>
                  </a:ext>
                </a:extLst>
              </a:tr>
              <a:tr h="499592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 bid (Closed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BG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that received 1 bid in Tranche-1 which was closed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.5x</a:t>
                      </a:r>
                    </a:p>
                  </a:txBody>
                  <a:tcPr marL="7620" marR="7620" marT="762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61</a:t>
                      </a:r>
                    </a:p>
                  </a:txBody>
                  <a:tcPr marL="7620" marR="7620" marT="76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690668"/>
                  </a:ext>
                </a:extLst>
              </a:tr>
              <a:tr h="499592">
                <a:tc>
                  <a:txBody>
                    <a:bodyPr/>
                    <a:lstStyle/>
                    <a:p>
                      <a:pPr algn="l"/>
                      <a:r>
                        <a:rPr lang="en-US" sz="16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2+ bids (Closed)</a:t>
                      </a:r>
                    </a:p>
                    <a:p>
                      <a:pPr algn="l"/>
                      <a:endParaRPr lang="en-US" sz="1600" b="1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OR</a:t>
                      </a:r>
                    </a:p>
                    <a:p>
                      <a:pPr lvl="0" algn="l">
                        <a:buNone/>
                      </a:pPr>
                      <a:endParaRPr lang="en-US" sz="1600" b="1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600" b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1 bid (Carried Forward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BG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that received multiple bids in Tranche-1 which were closed</a:t>
                      </a:r>
                    </a:p>
                    <a:p>
                      <a:pPr algn="l"/>
                      <a:endParaRPr lang="en-US" sz="1600" b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OR</a:t>
                      </a:r>
                    </a:p>
                    <a:p>
                      <a:pPr lvl="0" algn="l">
                        <a:buNone/>
                      </a:pPr>
                      <a:endParaRPr lang="en-US" sz="1600" b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600" b="0" dirty="0" err="1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CBGs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that received 1 bid in Tranche-1 which was carried forward</a:t>
                      </a:r>
                    </a:p>
                  </a:txBody>
                  <a:tcPr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1.2x</a:t>
                      </a:r>
                    </a:p>
                  </a:txBody>
                  <a:tcPr marL="7620" marR="7620" marT="7620" anchor="ctr"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203</a:t>
                      </a:r>
                    </a:p>
                  </a:txBody>
                  <a:tcPr marL="7620" marR="7620" marT="76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2770431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F53821-5F07-F0D0-A414-30CCFDC7C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31842"/>
          </a:xfrm>
        </p:spPr>
        <p:txBody>
          <a:bodyPr vert="horz">
            <a:noAutofit/>
          </a:bodyPr>
          <a:lstStyle/>
          <a:p>
            <a:r>
              <a:rPr lang="en-US" sz="2400" dirty="0">
                <a:latin typeface="Arial"/>
                <a:cs typeface="Arial"/>
              </a:rPr>
              <a:t>For Tranche-2, </a:t>
            </a:r>
            <a:r>
              <a:rPr lang="en-US" dirty="0">
                <a:latin typeface="Arial"/>
                <a:cs typeface="Arial"/>
              </a:rPr>
              <a:t>Reference</a:t>
            </a:r>
            <a:r>
              <a:rPr lang="en-US" sz="2400" dirty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Prices</a:t>
            </a:r>
            <a:r>
              <a:rPr lang="en-US" sz="2400" dirty="0">
                <a:latin typeface="Arial"/>
                <a:cs typeface="Arial"/>
              </a:rPr>
              <a:t> of Zero </a:t>
            </a:r>
            <a:r>
              <a:rPr lang="en-US" dirty="0">
                <a:latin typeface="Arial"/>
                <a:cs typeface="Arial"/>
              </a:rPr>
              <a:t>Bid CBGs were increased relative to the level of interest and competition they received in Tranche-1</a:t>
            </a:r>
            <a:br>
              <a:rPr lang="en-US" sz="2400" dirty="0">
                <a:latin typeface="Arial"/>
                <a:cs typeface="Arial"/>
              </a:rPr>
            </a:br>
            <a:endParaRPr lang="en-US" sz="2400" dirty="0">
              <a:latin typeface="Arial"/>
              <a:cs typeface="Arial"/>
            </a:endParaRPr>
          </a:p>
        </p:txBody>
      </p:sp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A433D304-68FA-9501-E886-7DF37E830C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9" imgH="396" progId="TCLayout.ActiveDocument.1">
                  <p:embed/>
                </p:oleObj>
              </mc:Choice>
              <mc:Fallback>
                <p:oleObj name="think-cell Slide" r:id="rId7" imgW="389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3D304-68FA-9501-E886-7DF37E830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98CADB8C-29B4-D4FE-DC07-109514FEBF00}"/>
              </a:ext>
            </a:extLst>
          </p:cNvPr>
          <p:cNvGrpSpPr/>
          <p:nvPr/>
        </p:nvGrpSpPr>
        <p:grpSpPr>
          <a:xfrm>
            <a:off x="630000" y="5353646"/>
            <a:ext cx="7344842" cy="413822"/>
            <a:chOff x="754666" y="6458287"/>
            <a:chExt cx="7733264" cy="41628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472AB25-8867-65D5-B70C-935CACAB0767}"/>
                </a:ext>
              </a:extLst>
            </p:cNvPr>
            <p:cNvSpPr/>
            <p:nvPr/>
          </p:nvSpPr>
          <p:spPr>
            <a:xfrm>
              <a:off x="796250" y="6506698"/>
              <a:ext cx="7691680" cy="367874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lvl="0">
                <a:defRPr/>
              </a:pPr>
              <a:endParaRPr lang="en-US" sz="1600" kern="0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97AF4B5-0D52-6443-C4DE-F7846BAF0D8F}"/>
                </a:ext>
              </a:extLst>
            </p:cNvPr>
            <p:cNvSpPr/>
            <p:nvPr/>
          </p:nvSpPr>
          <p:spPr>
            <a:xfrm>
              <a:off x="754666" y="6458287"/>
              <a:ext cx="7691680" cy="367873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rtlCol="0" anchor="ctr" anchorCtr="0">
              <a:noAutofit/>
            </a:bodyPr>
            <a:lstStyle/>
            <a:p>
              <a:pPr>
                <a:defRPr/>
              </a:pPr>
              <a:r>
                <a:rPr lang="en-US" sz="1400" b="1" dirty="0">
                  <a:solidFill>
                    <a:schemeClr val="tx2"/>
                  </a:solidFill>
                  <a:latin typeface="+mj-lt"/>
                </a:rPr>
                <a:t>Note |</a:t>
              </a:r>
              <a:r>
                <a:rPr lang="en-US" sz="1400" dirty="0">
                  <a:latin typeface="+mj-lt"/>
                </a:rPr>
                <a:t> </a:t>
              </a:r>
              <a:r>
                <a:rPr lang="en-US" sz="1400" dirty="0">
                  <a:latin typeface="Arial"/>
                  <a:cs typeface="Arial"/>
                </a:rPr>
                <a:t>Adjusted Reference Prices for Zero Bid </a:t>
              </a:r>
              <a:r>
                <a:rPr lang="en-US" sz="1400" dirty="0" err="1">
                  <a:latin typeface="Arial"/>
                  <a:cs typeface="Arial"/>
                </a:rPr>
                <a:t>CBGs</a:t>
              </a:r>
              <a:r>
                <a:rPr lang="en-US" sz="1400" dirty="0">
                  <a:latin typeface="Arial"/>
                  <a:cs typeface="Arial"/>
                </a:rPr>
                <a:t> not to exceed $50k per location</a:t>
              </a:r>
              <a:endParaRPr lang="en-US" sz="1400" baseline="300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494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B51663D-53BC-89A3-4FCF-9171A30BF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008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51663D-53BC-89A3-4FCF-9171A30BF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66B0E9-C854-A177-B480-F6D535A79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664797"/>
          </a:xfrm>
        </p:spPr>
        <p:txBody>
          <a:bodyPr vert="horz"/>
          <a:lstStyle/>
          <a:p>
            <a:r>
              <a:rPr lang="en-US" dirty="0"/>
              <a:t>The updated Reference Price document lists all 1,291 </a:t>
            </a:r>
            <a:r>
              <a:rPr lang="en-US" dirty="0" err="1"/>
              <a:t>CBGs</a:t>
            </a:r>
            <a:r>
              <a:rPr lang="en-US" dirty="0"/>
              <a:t> available in Tranche-2, including their status, Reference Price, and increase indicator</a:t>
            </a: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8B79D378-0435-2C92-F9B9-D4D497E04D18}"/>
              </a:ext>
            </a:extLst>
          </p:cNvPr>
          <p:cNvSpPr/>
          <p:nvPr/>
        </p:nvSpPr>
        <p:spPr>
          <a:xfrm flipH="1">
            <a:off x="630000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D59B85FF-90B9-B48F-F165-F952F3C45E86}"/>
              </a:ext>
            </a:extLst>
          </p:cNvPr>
          <p:cNvSpPr/>
          <p:nvPr/>
        </p:nvSpPr>
        <p:spPr>
          <a:xfrm>
            <a:off x="11415061" y="1890051"/>
            <a:ext cx="146938" cy="131987"/>
          </a:xfrm>
          <a:prstGeom prst="rtTriangle">
            <a:avLst/>
          </a:prstGeom>
          <a:solidFill>
            <a:schemeClr val="accent1"/>
          </a:solidFill>
          <a:ln w="9525" cap="rnd" cmpd="sng" algn="ctr">
            <a:solidFill>
              <a:srgbClr val="0D2E5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C63CDC6-23AC-F3AA-F5BF-F5EF1C372C95}"/>
              </a:ext>
            </a:extLst>
          </p:cNvPr>
          <p:cNvSpPr txBox="1"/>
          <p:nvPr/>
        </p:nvSpPr>
        <p:spPr>
          <a:xfrm>
            <a:off x="766969" y="1646209"/>
            <a:ext cx="10648091" cy="375829"/>
          </a:xfrm>
          <a:prstGeom prst="round2SameRect">
            <a:avLst>
              <a:gd name="adj1" fmla="val 17031"/>
              <a:gd name="adj2" fmla="val 0"/>
            </a:avLst>
          </a:prstGeom>
          <a:solidFill>
            <a:schemeClr val="tx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ranche-2 Reference Prices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6F87C6-9772-CC3E-0D46-461B6158BC03}"/>
              </a:ext>
            </a:extLst>
          </p:cNvPr>
          <p:cNvSpPr txBox="1"/>
          <p:nvPr/>
        </p:nvSpPr>
        <p:spPr>
          <a:xfrm flipV="1">
            <a:off x="754666" y="2188943"/>
            <a:ext cx="10665322" cy="2688707"/>
          </a:xfrm>
          <a:prstGeom prst="round2SameRect">
            <a:avLst>
              <a:gd name="adj1" fmla="val 1666"/>
              <a:gd name="adj2" fmla="val 0"/>
            </a:avLst>
          </a:prstGeom>
          <a:solidFill>
            <a:schemeClr val="tx2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104507-5F79-5CF6-7AA1-51B4CBEDB7B1}"/>
              </a:ext>
            </a:extLst>
          </p:cNvPr>
          <p:cNvSpPr txBox="1"/>
          <p:nvPr/>
        </p:nvSpPr>
        <p:spPr>
          <a:xfrm flipV="1">
            <a:off x="630000" y="2022036"/>
            <a:ext cx="10931999" cy="2813927"/>
          </a:xfrm>
          <a:prstGeom prst="round2SameRect">
            <a:avLst>
              <a:gd name="adj1" fmla="val 1666"/>
              <a:gd name="adj2" fmla="val 0"/>
            </a:avLst>
          </a:prstGeom>
          <a:solidFill>
            <a:srgbClr val="FFFFFF"/>
          </a:solidFill>
          <a:ln w="9525" cap="rnd">
            <a:solidFill>
              <a:srgbClr val="1A5BA7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accent3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F91B1-8765-D956-8630-EB4F983453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939" y="2134855"/>
            <a:ext cx="10648091" cy="258829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626AC26-2D4C-E3C2-FECF-E5D5B5FFC0CC}"/>
              </a:ext>
            </a:extLst>
          </p:cNvPr>
          <p:cNvSpPr/>
          <p:nvPr/>
        </p:nvSpPr>
        <p:spPr>
          <a:xfrm>
            <a:off x="776939" y="5087371"/>
            <a:ext cx="2599691" cy="270287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1A5BA7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List of </a:t>
            </a:r>
            <a:r>
              <a:rPr lang="en-US" sz="1200" dirty="0" err="1">
                <a:solidFill>
                  <a:schemeClr val="accent1"/>
                </a:solidFill>
              </a:rPr>
              <a:t>CBGs</a:t>
            </a:r>
            <a:r>
              <a:rPr lang="en-US" sz="1200" dirty="0">
                <a:solidFill>
                  <a:schemeClr val="accent1"/>
                </a:solidFill>
              </a:rPr>
              <a:t> available in Tranche-2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E2EFAAE8-B2CD-5849-7AFB-925FE5F1DF0E}"/>
              </a:ext>
            </a:extLst>
          </p:cNvPr>
          <p:cNvSpPr/>
          <p:nvPr/>
        </p:nvSpPr>
        <p:spPr>
          <a:xfrm>
            <a:off x="3503919" y="5092361"/>
            <a:ext cx="4046875" cy="270287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1A5BA7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accent1"/>
                </a:solidFill>
              </a:rPr>
              <a:t>CBGs</a:t>
            </a:r>
            <a:r>
              <a:rPr lang="en-US" sz="1200" dirty="0">
                <a:solidFill>
                  <a:schemeClr val="accent1"/>
                </a:solidFill>
              </a:rPr>
              <a:t> status as either "Available" or "Available Zero Bid"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38AE526-6756-38E3-2568-D813E58108E7}"/>
              </a:ext>
            </a:extLst>
          </p:cNvPr>
          <p:cNvSpPr/>
          <p:nvPr/>
        </p:nvSpPr>
        <p:spPr>
          <a:xfrm>
            <a:off x="7678084" y="5088142"/>
            <a:ext cx="3746946" cy="270287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 cap="rnd" cmpd="sng" algn="ctr">
            <a:solidFill>
              <a:srgbClr val="1A5BA7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accent1"/>
                </a:solidFill>
              </a:rPr>
              <a:t>Indicator of an increased Reference Pric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E0B64C2-D77E-26C9-78FC-81DB0F26B722}"/>
              </a:ext>
            </a:extLst>
          </p:cNvPr>
          <p:cNvGrpSpPr/>
          <p:nvPr/>
        </p:nvGrpSpPr>
        <p:grpSpPr>
          <a:xfrm>
            <a:off x="634985" y="5657483"/>
            <a:ext cx="10931999" cy="460788"/>
            <a:chOff x="754666" y="6458291"/>
            <a:chExt cx="7733264" cy="41628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310291E-0C02-7B92-3546-BE981BF28DF7}"/>
                </a:ext>
              </a:extLst>
            </p:cNvPr>
            <p:cNvSpPr/>
            <p:nvPr/>
          </p:nvSpPr>
          <p:spPr>
            <a:xfrm>
              <a:off x="796250" y="6506698"/>
              <a:ext cx="7691680" cy="367874"/>
            </a:xfrm>
            <a:prstGeom prst="rect">
              <a:avLst/>
            </a:prstGeom>
            <a:solidFill>
              <a:srgbClr val="1A5BA7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>
              <a:noAutofit/>
            </a:bodyPr>
            <a:lstStyle/>
            <a:p>
              <a:pPr lvl="0">
                <a:defRPr/>
              </a:pPr>
              <a:endParaRPr lang="en-US" sz="1600" kern="0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B767607-2585-2FA6-25A6-753E6E41DFEB}"/>
                </a:ext>
              </a:extLst>
            </p:cNvPr>
            <p:cNvSpPr/>
            <p:nvPr/>
          </p:nvSpPr>
          <p:spPr>
            <a:xfrm>
              <a:off x="754666" y="6458291"/>
              <a:ext cx="7691680" cy="367873"/>
            </a:xfrm>
            <a:prstGeom prst="rect">
              <a:avLst/>
            </a:prstGeom>
            <a:solidFill>
              <a:srgbClr val="FFFFFF"/>
            </a:solidFill>
            <a:ln w="19050" cap="rnd" cmpd="sng" algn="ctr">
              <a:solidFill>
                <a:srgbClr val="1A5BA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40" tIns="45720" rIns="91440" bIns="45720" rtlCol="0" anchor="ctr" anchorCtr="0">
              <a:noAutofit/>
            </a:bodyPr>
            <a:lstStyle/>
            <a:p>
              <a:pPr>
                <a:defRPr/>
              </a:pPr>
              <a:r>
                <a:rPr lang="en-US" sz="1200" b="1" dirty="0">
                  <a:solidFill>
                    <a:schemeClr val="tx2"/>
                  </a:solidFill>
                  <a:latin typeface="+mj-lt"/>
                </a:rPr>
                <a:t>Note |</a:t>
              </a:r>
              <a:r>
                <a:rPr lang="en-US" sz="1200" dirty="0">
                  <a:latin typeface="+mj-lt"/>
                </a:rPr>
                <a:t> </a:t>
              </a:r>
              <a:r>
                <a:rPr lang="en-US" sz="1200" dirty="0">
                  <a:latin typeface="Arial"/>
                  <a:cs typeface="Arial"/>
                </a:rPr>
                <a:t>Adjusted Reference Prices for Zero Bid </a:t>
              </a:r>
              <a:r>
                <a:rPr lang="en-US" sz="1200" dirty="0" err="1">
                  <a:latin typeface="Arial"/>
                  <a:cs typeface="Arial"/>
                </a:rPr>
                <a:t>CBGs</a:t>
              </a:r>
              <a:r>
                <a:rPr lang="en-US" sz="1200" dirty="0">
                  <a:latin typeface="Arial"/>
                  <a:cs typeface="Arial"/>
                </a:rPr>
                <a:t> do not exceed $50k per location; therefore, it is possible for an Available Zero Bid to not receive a reference price increase</a:t>
              </a:r>
              <a:endParaRPr lang="en-US" sz="1200" baseline="30000" dirty="0">
                <a:latin typeface="Arial"/>
                <a:cs typeface="Arial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FFFB7F55-0162-9978-2674-BC98D7580065}"/>
              </a:ext>
            </a:extLst>
          </p:cNvPr>
          <p:cNvSpPr/>
          <p:nvPr/>
        </p:nvSpPr>
        <p:spPr>
          <a:xfrm>
            <a:off x="776938" y="2961090"/>
            <a:ext cx="618023" cy="11281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F3600BFA-0045-0843-2C48-E879A8BEDFCB}"/>
              </a:ext>
            </a:extLst>
          </p:cNvPr>
          <p:cNvCxnSpPr>
            <a:stCxn id="18" idx="1"/>
            <a:endCxn id="12" idx="1"/>
          </p:cNvCxnSpPr>
          <p:nvPr/>
        </p:nvCxnSpPr>
        <p:spPr>
          <a:xfrm rot="10800000" flipH="1" flipV="1">
            <a:off x="776937" y="3017499"/>
            <a:ext cx="1" cy="2205016"/>
          </a:xfrm>
          <a:prstGeom prst="bentConnector3">
            <a:avLst>
              <a:gd name="adj1" fmla="val -22860000000"/>
            </a:avLst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335010A-FAFB-2057-A823-CC1AB08F8561}"/>
              </a:ext>
            </a:extLst>
          </p:cNvPr>
          <p:cNvSpPr/>
          <p:nvPr/>
        </p:nvSpPr>
        <p:spPr>
          <a:xfrm>
            <a:off x="8619369" y="2949205"/>
            <a:ext cx="618023" cy="1602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54B22235-9D4C-A176-9358-6143A6D1235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144792" y="2320271"/>
            <a:ext cx="2143156" cy="3401024"/>
          </a:xfrm>
          <a:prstGeom prst="bentConnector3">
            <a:avLst>
              <a:gd name="adj1" fmla="val 110667"/>
            </a:avLst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31BA3E7A-0759-2604-E885-8E7F9FB4B35D}"/>
              </a:ext>
            </a:extLst>
          </p:cNvPr>
          <p:cNvSpPr/>
          <p:nvPr/>
        </p:nvSpPr>
        <p:spPr>
          <a:xfrm>
            <a:off x="10770096" y="2935857"/>
            <a:ext cx="618023" cy="1602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4A9B81C8-382E-83A0-3A12-9B72C4EDA3D1}"/>
              </a:ext>
            </a:extLst>
          </p:cNvPr>
          <p:cNvCxnSpPr>
            <a:cxnSpLocks/>
            <a:stCxn id="14" idx="3"/>
            <a:endCxn id="34" idx="3"/>
          </p:cNvCxnSpPr>
          <p:nvPr/>
        </p:nvCxnSpPr>
        <p:spPr>
          <a:xfrm flipH="1" flipV="1">
            <a:off x="11388119" y="3015998"/>
            <a:ext cx="36911" cy="2207288"/>
          </a:xfrm>
          <a:prstGeom prst="bentConnector3">
            <a:avLst>
              <a:gd name="adj1" fmla="val -619328"/>
            </a:avLst>
          </a:prstGeom>
          <a:ln w="9525" cap="rnd">
            <a:solidFill>
              <a:schemeClr val="accent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3764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qEZ7KgOk"/>
  <p:tag name="EE4P_STYLE_NAME" val="AR Connect Grid 16:9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 Connect Grid 16:9 - 22209">
  <a:themeElements>
    <a:clrScheme name="Grid">
      <a:dk1>
        <a:srgbClr val="020101"/>
      </a:dk1>
      <a:lt1>
        <a:sysClr val="window" lastClr="FFFFFF"/>
      </a:lt1>
      <a:dk2>
        <a:srgbClr val="1A5BA7"/>
      </a:dk2>
      <a:lt2>
        <a:srgbClr val="F2F2F2"/>
      </a:lt2>
      <a:accent1>
        <a:srgbClr val="0D2E53"/>
      </a:accent1>
      <a:accent2>
        <a:srgbClr val="13447D"/>
      </a:accent2>
      <a:accent3>
        <a:srgbClr val="FFD400"/>
      </a:accent3>
      <a:accent4>
        <a:srgbClr val="5A9AE5"/>
      </a:accent4>
      <a:accent5>
        <a:srgbClr val="7C8082"/>
      </a:accent5>
      <a:accent6>
        <a:srgbClr val="DA2131"/>
      </a:accent6>
      <a:hlink>
        <a:srgbClr val="6E4EA5"/>
      </a:hlink>
      <a:folHlink>
        <a:srgbClr val="AC99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A5BA7"/>
        </a:solidFill>
        <a:ln w="9525" cap="rnd" cmpd="sng" algn="ctr">
          <a:solidFill>
            <a:srgbClr val="1A5BA7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1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2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0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1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32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4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5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6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7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8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ppt/theme/themeOverride9.xml><?xml version="1.0" encoding="utf-8"?>
<a:themeOverride xmlns:a="http://schemas.openxmlformats.org/drawingml/2006/main">
  <a:clrScheme name="Grid">
    <a:dk1>
      <a:srgbClr val="020101"/>
    </a:dk1>
    <a:lt1>
      <a:sysClr val="window" lastClr="FFFFFF"/>
    </a:lt1>
    <a:dk2>
      <a:srgbClr val="1A5BA7"/>
    </a:dk2>
    <a:lt2>
      <a:srgbClr val="F2F2F2"/>
    </a:lt2>
    <a:accent1>
      <a:srgbClr val="0D2E53"/>
    </a:accent1>
    <a:accent2>
      <a:srgbClr val="13447D"/>
    </a:accent2>
    <a:accent3>
      <a:srgbClr val="FFD400"/>
    </a:accent3>
    <a:accent4>
      <a:srgbClr val="5A9AE5"/>
    </a:accent4>
    <a:accent5>
      <a:srgbClr val="7C8082"/>
    </a:accent5>
    <a:accent6>
      <a:srgbClr val="DA2131"/>
    </a:accent6>
    <a:hlink>
      <a:srgbClr val="6E4EA5"/>
    </a:hlink>
    <a:folHlink>
      <a:srgbClr val="AC99C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E44BBFEE55374C8A5AB0EA53ED154B" ma:contentTypeVersion="6" ma:contentTypeDescription="Create a new document." ma:contentTypeScope="" ma:versionID="e4c9fc2919ac8ef8faad2cc414dd0cce">
  <xsd:schema xmlns:xsd="http://www.w3.org/2001/XMLSchema" xmlns:xs="http://www.w3.org/2001/XMLSchema" xmlns:p="http://schemas.microsoft.com/office/2006/metadata/properties" xmlns:ns2="2c7955f9-1c3b-40f9-ae89-c02ea7ec4bb2" xmlns:ns3="7627ecdc-1ee0-474f-8748-8f2677614092" targetNamespace="http://schemas.microsoft.com/office/2006/metadata/properties" ma:root="true" ma:fieldsID="fb6da9faa626e1cd8e0f98822306ac74" ns2:_="" ns3:_="">
    <xsd:import namespace="2c7955f9-1c3b-40f9-ae89-c02ea7ec4bb2"/>
    <xsd:import namespace="7627ecdc-1ee0-474f-8748-8f26776140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7955f9-1c3b-40f9-ae89-c02ea7ec4b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27ecdc-1ee0-474f-8748-8f2677614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DcR_SlideID>da26a68d-4eb7-424f-9eaf-e34e99d3b523</DcR_SlideID>
</file>

<file path=customXml/itemProps1.xml><?xml version="1.0" encoding="utf-8"?>
<ds:datastoreItem xmlns:ds="http://schemas.openxmlformats.org/officeDocument/2006/customXml" ds:itemID="{741912EB-70E4-41D5-9CE3-A2A7611536BD}">
  <ds:schemaRefs>
    <ds:schemaRef ds:uri="2c7955f9-1c3b-40f9-ae89-c02ea7ec4bb2"/>
    <ds:schemaRef ds:uri="7627ecdc-1ee0-474f-8748-8f26776140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D34C805-836F-4B9F-BD54-3B8135017E75}">
  <ds:schemaRefs>
    <ds:schemaRef ds:uri="2c7955f9-1c3b-40f9-ae89-c02ea7ec4bb2"/>
    <ds:schemaRef ds:uri="7627ecdc-1ee0-474f-8748-8f267761409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083FF77-658A-4AFA-923D-51E6AA02A5D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0E2B823-0F85-4644-8DF3-B5C26AF1FE04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8</TotalTime>
  <Words>454</Words>
  <Application>Microsoft Office PowerPoint</Application>
  <PresentationFormat>Widescreen</PresentationFormat>
  <Paragraphs>64</Paragraphs>
  <Slides>5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  <vt:variant>
        <vt:lpstr>Custom Shows</vt:lpstr>
      </vt:variant>
      <vt:variant>
        <vt:i4>1</vt:i4>
      </vt:variant>
    </vt:vector>
  </HeadingPairs>
  <TitlesOfParts>
    <vt:vector size="10" baseType="lpstr">
      <vt:lpstr>Arial</vt:lpstr>
      <vt:lpstr>Trebuchet MS</vt:lpstr>
      <vt:lpstr>AR Connect Grid 16:9 - 22209</vt:lpstr>
      <vt:lpstr>think-cell Slide</vt:lpstr>
      <vt:lpstr>The Arkansas  BEAD Program</vt:lpstr>
      <vt:lpstr>Recall | Once in the applicant portal, applicants will be able to see a map displaying each CBG's availability as a result of Tranche-1 adjudication</vt:lpstr>
      <vt:lpstr>Recall |  A CBG can be classified as a Zero Bid CBG in three different ways</vt:lpstr>
      <vt:lpstr>For Tranche-2, Reference Prices of Zero Bid CBGs were increased relative to the level of interest and competition they received in Tranche-1 </vt:lpstr>
      <vt:lpstr>The updated Reference Price document lists all 1,291 CBGs available in Tranche-2, including their status, Reference Price, and increase indicator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Joseph, Tyler</cp:lastModifiedBy>
  <cp:revision>10</cp:revision>
  <cp:lastPrinted>2000-01-01T06:00:00Z</cp:lastPrinted>
  <dcterms:created xsi:type="dcterms:W3CDTF">2024-06-04T17:47:03Z</dcterms:created>
  <dcterms:modified xsi:type="dcterms:W3CDTF">2025-02-13T18:1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MSIP_Label_b0d5c4f4-7a29-4385-b7a5-afbe2154ae6f_Enabled">
    <vt:lpwstr>true</vt:lpwstr>
  </property>
  <property fmtid="{D5CDD505-2E9C-101B-9397-08002B2CF9AE}" pid="8" name="MSIP_Label_b0d5c4f4-7a29-4385-b7a5-afbe2154ae6f_SetDate">
    <vt:lpwstr>2024-06-04T17:47:22Z</vt:lpwstr>
  </property>
  <property fmtid="{D5CDD505-2E9C-101B-9397-08002B2CF9AE}" pid="9" name="MSIP_Label_b0d5c4f4-7a29-4385-b7a5-afbe2154ae6f_Method">
    <vt:lpwstr>Standard</vt:lpwstr>
  </property>
  <property fmtid="{D5CDD505-2E9C-101B-9397-08002B2CF9AE}" pid="10" name="MSIP_Label_b0d5c4f4-7a29-4385-b7a5-afbe2154ae6f_Name">
    <vt:lpwstr>Confidential</vt:lpwstr>
  </property>
  <property fmtid="{D5CDD505-2E9C-101B-9397-08002B2CF9AE}" pid="11" name="MSIP_Label_b0d5c4f4-7a29-4385-b7a5-afbe2154ae6f_SiteId">
    <vt:lpwstr>2dfb2f0b-4d21-4268-9559-72926144c918</vt:lpwstr>
  </property>
  <property fmtid="{D5CDD505-2E9C-101B-9397-08002B2CF9AE}" pid="12" name="MSIP_Label_b0d5c4f4-7a29-4385-b7a5-afbe2154ae6f_ActionId">
    <vt:lpwstr>1f9fae1b-ba1f-4f42-bbf3-a8968d49c002</vt:lpwstr>
  </property>
  <property fmtid="{D5CDD505-2E9C-101B-9397-08002B2CF9AE}" pid="13" name="MSIP_Label_b0d5c4f4-7a29-4385-b7a5-afbe2154ae6f_ContentBits">
    <vt:lpwstr>0</vt:lpwstr>
  </property>
  <property fmtid="{D5CDD505-2E9C-101B-9397-08002B2CF9AE}" pid="14" name="ContentTypeId">
    <vt:lpwstr>0x0101001EE44BBFEE55374C8A5AB0EA53ED154B</vt:lpwstr>
  </property>
  <property fmtid="{D5CDD505-2E9C-101B-9397-08002B2CF9AE}" pid="15" name="MediaServiceImageTags">
    <vt:lpwstr/>
  </property>
</Properties>
</file>